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</p:sldMasterIdLst>
  <p:notesMasterIdLst>
    <p:notesMasterId r:id="rId24"/>
  </p:notesMasterIdLst>
  <p:handoutMasterIdLst>
    <p:handoutMasterId r:id="rId25"/>
  </p:handoutMasterIdLst>
  <p:sldIdLst>
    <p:sldId id="2147483646" r:id="rId5"/>
    <p:sldId id="2147480816" r:id="rId6"/>
    <p:sldId id="2147483647" r:id="rId7"/>
    <p:sldId id="257" r:id="rId8"/>
    <p:sldId id="298" r:id="rId9"/>
    <p:sldId id="304" r:id="rId10"/>
    <p:sldId id="300" r:id="rId11"/>
    <p:sldId id="303" r:id="rId12"/>
    <p:sldId id="305" r:id="rId13"/>
    <p:sldId id="302" r:id="rId14"/>
    <p:sldId id="307" r:id="rId15"/>
    <p:sldId id="308" r:id="rId16"/>
    <p:sldId id="2147378129" r:id="rId17"/>
    <p:sldId id="309" r:id="rId18"/>
    <p:sldId id="310" r:id="rId19"/>
    <p:sldId id="311" r:id="rId20"/>
    <p:sldId id="279" r:id="rId21"/>
    <p:sldId id="317" r:id="rId22"/>
    <p:sldId id="297" r:id="rId23"/>
  </p:sldIdLst>
  <p:sldSz cx="12192000" cy="6858000"/>
  <p:notesSz cx="6797675" cy="9926638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47A5E0C-D88B-49AC-9818-21F693784E12}" name="Schwehr, Hannah /BDF HAM" initials="SH" userId="S::hannah.schwehr@beiersdorf.com::5611a086-a1d8-4ed5-8aa6-f0ef7936a265" providerId="AD"/>
  <p188:author id="{0539B213-B581-2190-1D52-B729CFB835F1}" name="Cordes-Weiss, Hilke /BDF HAM" initials="CH" userId="S::hilke.cordesweiss@beiersdorf.com::0e70aa78-05e5-41d0-bce4-d5c57c864088" providerId="AD"/>
  <p188:author id="{4C93EB36-C78C-1178-0FD8-6107AD1F5482}" name="Heike Döring" initials="HD" userId="Heike Döring" providerId="None"/>
  <p188:author id="{D1A76341-F40C-A6BF-0E45-C4093A9A526E}" name="Cordes-Weiss, Hilke /BDF HAM" initials="CWH/H" userId="S::Hilke.CordesWeiss@Beiersdorf.com::0e70aa78-05e5-41d0-bce4-d5c57c864088" providerId="AD"/>
  <p188:author id="{0C1F3548-6D92-65AE-4F03-B4F39F611131}" name="Erbar, Kathrin /BDF HAM" initials="EH" userId="S::kathrin.erbar@beiersdorf.com::ad9adbab-c04d-4114-bbe5-6490c9348873" providerId="AD"/>
  <p188:author id="{2C3B2B61-EE0C-2A5E-D94D-FEEDACDEB764}" name="Petz, Julia /BDF HAM" initials="PJ/H" userId="S::Julia.Petz@Beiersdorf.com::67239c2f-78e5-4b4a-a3d6-1f802d13a2eb" providerId="AD"/>
  <p188:author id="{D9777C71-0419-12A4-8C24-0A970A82E1F4}" name="von Bierbrauer, Thassilo /BDF HAM" initials="vBT/H" userId="S::Thassilo.vonBierbrauer@Beiersdorf.com::a8fefcca-18e5-4109-bdb1-ebc54da7e701" providerId="AD"/>
  <p188:author id="{97847A7E-0584-F856-8233-D6874F4E502F}" name="Wallburg, Daniel /BDF HAM" initials="WH" userId="S::daniel.wallburg@beiersdorf.com::63074c62-53e7-4558-ac3a-3787632faa47" providerId="AD"/>
  <p188:author id="{BD80DC80-1C2D-9406-FCB8-2F0769BED926}" name="Strecker, Clarissa /BDF HAM" initials="SC/H" userId="S::Clarissa.Strecker@Beiersdorf.com::02c6f183-4bb2-49ab-916b-76535cfcc336" providerId="AD"/>
  <p188:author id="{5B090D93-F24F-B975-4DAF-7665885C7C20}" name="Petz, Julia /BDF HAM" initials="PH" userId="S::julia.petz@beiersdorf.com::67239c2f-78e5-4b4a-a3d6-1f802d13a2eb" providerId="AD"/>
  <p188:author id="{EF4EF997-4F86-9EB4-F180-EBBFA1310E5D}" name="Schreyer, Carolin /BDF HAM" initials="SH" userId="S::carolin.schreyer@beiersdorf.com::17dc844a-2892-4096-ad51-be09e3b6dc85" providerId="AD"/>
  <p188:author id="{299779C3-7FD9-1EA2-EC08-F4FCA9BCAE43}" name="Strecker, Clarissa /BDF HAM" initials="SH" userId="S::clarissa.strecker@beiersdorf.com::02c6f183-4bb2-49ab-916b-76535cfcc336" providerId="AD"/>
  <p188:author id="{67B234D4-6C52-86D0-FBC6-0EECE65EC70D}" name="Hewing, Anna /BDF HAM" initials="HA/H" userId="S::Anna.Hewing@Beiersdorf.com::abfe5347-c273-424a-b316-5ae3e96d6f4c" providerId="AD"/>
  <p188:author id="{2340D4F4-C23F-8AFE-388B-6BD5AEB57C34}" name="Winter, Kristina /BDF HAM" initials="WK/H" userId="S::Kristina.Winter@Beiersdorf.com::c7571be6-e29b-49b2-baae-009c3f2b3d4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nauer, Charlotte /BDF HAM" initials="KC/H" lastIdx="12" clrIdx="0"/>
  <p:cmAuthor id="2" name="Piggin, Sabine /BDF HAM" initials="PS/H" lastIdx="16" clrIdx="1">
    <p:extLst>
      <p:ext uri="{19B8F6BF-5375-455C-9EA6-DF929625EA0E}">
        <p15:presenceInfo xmlns:p15="http://schemas.microsoft.com/office/powerpoint/2012/main" userId="S::Sabine.Piggin@Beiersdorf.com::75da0ebd-91a1-4045-9d21-1ea1c2d2ad70" providerId="AD"/>
      </p:ext>
    </p:extLst>
  </p:cmAuthor>
  <p:cmAuthor id="3" name="Microsoft Office-Benutzer" initials="MO" lastIdx="2" clrIdx="2">
    <p:extLst>
      <p:ext uri="{19B8F6BF-5375-455C-9EA6-DF929625EA0E}">
        <p15:presenceInfo xmlns:p15="http://schemas.microsoft.com/office/powerpoint/2012/main" userId="Microsoft Office-Benutz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DDD5"/>
    <a:srgbClr val="EFEDE9"/>
    <a:srgbClr val="F8F7F5"/>
    <a:srgbClr val="FAF8F9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E34F4EE-0876-4B9F-B01F-FBA252A4F788}" v="56" dt="2024-10-22T14:33:38.822"/>
  </p1510:revLst>
</p1510:revInfo>
</file>

<file path=ppt/tableStyles.xml><?xml version="1.0" encoding="utf-8"?>
<a:tblStyleLst xmlns:a="http://schemas.openxmlformats.org/drawingml/2006/main" def="{17D8F3F6-04A6-46BD-B794-F06A84546DDE}">
  <a:tblStyle styleId="{17D8F3F6-04A6-46BD-B794-F06A84546DDE}" styleName="Beiersdorf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6350" cmpd="sng">
              <a:solidFill>
                <a:schemeClr val="dk2"/>
              </a:solidFill>
            </a:ln>
          </a:bottom>
          <a:insideH>
            <a:ln w="6350" cmpd="sng">
              <a:solidFill>
                <a:schemeClr val="dk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>
        <a:fontRef idx="major">
          <a:prstClr val="black"/>
        </a:fontRef>
        <a:schemeClr val="dk2"/>
      </a:tcTxStyle>
      <a:tcStyle>
        <a:tcBdr/>
      </a:tcStyle>
    </a:lastCol>
    <a:firstCol>
      <a:tcTxStyle>
        <a:fontRef idx="major">
          <a:prstClr val="black"/>
        </a:fontRef>
        <a:schemeClr val="dk2"/>
      </a:tcTxStyle>
      <a:tcStyle>
        <a:tcBdr/>
      </a:tcStyle>
    </a:firstCol>
    <a:lastRow>
      <a:tcTxStyle b="on">
        <a:fontRef idx="minor">
          <a:prstClr val="black"/>
        </a:fontRef>
        <a:schemeClr val="dk2"/>
      </a:tcTxStyle>
      <a:tcStyle>
        <a:tcBdr>
          <a:top>
            <a:ln w="12700" cmpd="sng">
              <a:solidFill>
                <a:schemeClr val="dk2"/>
              </a:solidFill>
            </a:ln>
          </a:top>
          <a:bottom>
            <a:ln w="12700" cmpd="sng">
              <a:solidFill>
                <a:schemeClr val="dk2"/>
              </a:solidFill>
            </a:ln>
          </a:bottom>
        </a:tcBdr>
      </a:tcStyle>
    </a:lastRow>
    <a:firstRow>
      <a:tcTxStyle>
        <a:fontRef idx="major">
          <a:prstClr val="black"/>
        </a:fontRef>
        <a:schemeClr val="dk2"/>
      </a:tcTxStyle>
      <a:tcStyle>
        <a:tcBdr>
          <a:bottom>
            <a:ln w="12700" cmpd="sng">
              <a:solidFill>
                <a:schemeClr val="dk2"/>
              </a:solidFill>
            </a:ln>
          </a:bottom>
        </a:tcBdr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2" d="100"/>
          <a:sy n="72" d="100"/>
        </p:scale>
        <p:origin x="408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6F8338D6-CDC0-464E-87BE-2A58A8AAAB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33156" y="407195"/>
            <a:ext cx="817681" cy="144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86AEBC8-0D32-42C7-98F2-F0A79EA292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4834" y="9355319"/>
            <a:ext cx="874284" cy="144000"/>
          </a:xfrm>
          <a:prstGeom prst="rect">
            <a:avLst/>
          </a:prstGeom>
        </p:spPr>
      </p:pic>
      <p:sp>
        <p:nvSpPr>
          <p:cNvPr id="11" name="Fußzeilenplatzhalter 15">
            <a:extLst>
              <a:ext uri="{FF2B5EF4-FFF2-40B4-BE49-F238E27FC236}">
                <a16:creationId xmlns:a16="http://schemas.microsoft.com/office/drawing/2014/main" id="{91A98B3A-9ABD-470B-898F-39035B102D4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gray">
          <a:xfrm>
            <a:off x="986267" y="9374369"/>
            <a:ext cx="3815942" cy="144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Avenir 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en-US">
                <a:solidFill>
                  <a:schemeClr val="bg2"/>
                </a:solidFill>
              </a:rPr>
              <a:t>Month XX, 20XX | Department | Title of the presentation</a:t>
            </a:r>
          </a:p>
        </p:txBody>
      </p:sp>
      <p:sp>
        <p:nvSpPr>
          <p:cNvPr id="12" name="Foliennummernplatzhalter 16">
            <a:extLst>
              <a:ext uri="{FF2B5EF4-FFF2-40B4-BE49-F238E27FC236}">
                <a16:creationId xmlns:a16="http://schemas.microsoft.com/office/drawing/2014/main" id="{97DD436D-F2B5-4F53-9B00-98C3FD7450E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gray">
          <a:xfrm>
            <a:off x="482210" y="9374369"/>
            <a:ext cx="504056" cy="144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800" b="0" smtClean="0">
                <a:solidFill>
                  <a:schemeClr val="tx1"/>
                </a:solidFill>
                <a:latin typeface="Avenir 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de-DE">
                <a:solidFill>
                  <a:schemeClr val="bg2"/>
                </a:solidFill>
              </a:rPr>
              <a:t>Page </a:t>
            </a:r>
            <a:fld id="{C0069AEE-D70F-4F66-B615-13FB9818742B}" type="slidenum">
              <a:rPr smtClean="0">
                <a:solidFill>
                  <a:schemeClr val="bg2"/>
                </a:solidFill>
              </a:rPr>
              <a:pPr/>
              <a:t>‹Nr.›</a:t>
            </a:fld>
            <a:endParaRPr lang="en-US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19878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299" userDrawn="1">
          <p15:clr>
            <a:srgbClr val="F26B43"/>
          </p15:clr>
        </p15:guide>
        <p15:guide id="2" orient="horz" pos="527" userDrawn="1">
          <p15:clr>
            <a:srgbClr val="F26B43"/>
          </p15:clr>
        </p15:guide>
        <p15:guide id="3" pos="398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8975" y="1219318"/>
            <a:ext cx="5472000" cy="307818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7459701-03A5-4F3E-A344-72F2FC93D0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3294" y="407195"/>
            <a:ext cx="817681" cy="144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7993CB0-E552-4E2A-9B1F-2DABFE2DEA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6691" y="9355319"/>
            <a:ext cx="874284" cy="144000"/>
          </a:xfrm>
          <a:prstGeom prst="rect">
            <a:avLst/>
          </a:prstGeom>
        </p:spPr>
      </p:pic>
      <p:sp>
        <p:nvSpPr>
          <p:cNvPr id="11" name="Fußzeilenplatzhalter 15">
            <a:extLst>
              <a:ext uri="{FF2B5EF4-FFF2-40B4-BE49-F238E27FC236}">
                <a16:creationId xmlns:a16="http://schemas.microsoft.com/office/drawing/2014/main" id="{C40181AF-1105-4C9F-B693-708C24644F5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 bwMode="gray">
          <a:xfrm>
            <a:off x="1204998" y="9374369"/>
            <a:ext cx="3815942" cy="144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Avenir 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en-US">
                <a:solidFill>
                  <a:schemeClr val="bg2"/>
                </a:solidFill>
              </a:rPr>
              <a:t>Month XX, 20XX | Department | Title of the presentation</a:t>
            </a:r>
          </a:p>
        </p:txBody>
      </p:sp>
      <p:sp>
        <p:nvSpPr>
          <p:cNvPr id="12" name="Foliennummernplatzhalter 16">
            <a:extLst>
              <a:ext uri="{FF2B5EF4-FFF2-40B4-BE49-F238E27FC236}">
                <a16:creationId xmlns:a16="http://schemas.microsoft.com/office/drawing/2014/main" id="{C9CFFEEE-A053-4E06-A0B0-A8DAB703BD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gray">
          <a:xfrm>
            <a:off x="700941" y="9374369"/>
            <a:ext cx="504056" cy="144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800" b="0" smtClean="0">
                <a:solidFill>
                  <a:schemeClr val="tx1"/>
                </a:solidFill>
                <a:latin typeface="Avenir 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de-DE">
                <a:solidFill>
                  <a:schemeClr val="bg2"/>
                </a:solidFill>
              </a:rPr>
              <a:t>Page </a:t>
            </a:r>
            <a:fld id="{C0069AEE-D70F-4F66-B615-13FB9818742B}" type="slidenum">
              <a:rPr smtClean="0">
                <a:solidFill>
                  <a:schemeClr val="bg2"/>
                </a:solidFill>
              </a:rPr>
              <a:pPr/>
              <a:t>‹Nr.›</a:t>
            </a:fld>
            <a:endParaRPr lang="en-US">
              <a:solidFill>
                <a:schemeClr val="bg2"/>
              </a:solidFill>
            </a:endParaRPr>
          </a:p>
        </p:txBody>
      </p:sp>
      <p:sp>
        <p:nvSpPr>
          <p:cNvPr id="2" name="Notizenplatzhalter 1">
            <a:extLst>
              <a:ext uri="{FF2B5EF4-FFF2-40B4-BE49-F238E27FC236}">
                <a16:creationId xmlns:a16="http://schemas.microsoft.com/office/drawing/2014/main" id="{8C562684-E611-48A2-8FEF-321E927B76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0940" y="4797424"/>
            <a:ext cx="5471999" cy="3888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0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pPr lvl="5"/>
            <a:r>
              <a:rPr lang="de-DE"/>
              <a:t>Fünfte Ebene</a:t>
            </a:r>
          </a:p>
          <a:p>
            <a:pPr lvl="6"/>
            <a:r>
              <a:rPr lang="de-DE" err="1"/>
              <a:t>Six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7"/>
            <a:r>
              <a:rPr lang="de-DE" err="1"/>
              <a:t>Seve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8"/>
            <a:r>
              <a:rPr lang="de-DE" err="1"/>
              <a:t>Eigh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8"/>
            <a:r>
              <a:rPr lang="de-DE" err="1"/>
              <a:t>Nin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52470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0"/>
      </a:spcBef>
      <a:spcAft>
        <a:spcPts val="600"/>
      </a:spcAft>
      <a:defRPr sz="1200" b="0" kern="1200">
        <a:solidFill>
          <a:schemeClr val="tx1"/>
        </a:solidFill>
        <a:latin typeface="+mn-lt"/>
        <a:ea typeface="+mn-ea"/>
        <a:cs typeface="+mn-cs"/>
      </a:defRPr>
    </a:lvl1pPr>
    <a:lvl2pPr marL="216000" indent="-216000" algn="l" defTabSz="914400" rtl="0" eaLnBrk="1" latinLnBrk="0" hangingPunct="1">
      <a:spcBef>
        <a:spcPts val="8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432000" indent="-216000" algn="l" defTabSz="914400" rtl="0" eaLnBrk="1" latinLnBrk="0" hangingPunct="1">
      <a:spcBef>
        <a:spcPts val="400"/>
      </a:spcBef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68288" indent="-179388" algn="l" defTabSz="914400" rtl="0" eaLnBrk="1" latinLnBrk="0" hangingPunct="1">
      <a:spcBef>
        <a:spcPts val="0"/>
      </a:spcBef>
      <a:spcAft>
        <a:spcPts val="600"/>
      </a:spcAft>
      <a:buClr>
        <a:schemeClr val="tx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46088" indent="-177800" algn="l" defTabSz="914400" rtl="0" eaLnBrk="1" latinLnBrk="0" hangingPunct="1">
      <a:spcBef>
        <a:spcPts val="0"/>
      </a:spcBef>
      <a:spcAft>
        <a:spcPts val="600"/>
      </a:spcAft>
      <a:buClr>
        <a:schemeClr val="tx1"/>
      </a:buClr>
      <a:buFont typeface="Arial" panose="020B0604020202020204" pitchFamily="34" charset="0"/>
      <a:buChar char="•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623888" indent="-177800" algn="l" defTabSz="914400" rtl="0" eaLnBrk="1" latinLnBrk="0" hangingPunct="1">
      <a:spcBef>
        <a:spcPts val="0"/>
      </a:spcBef>
      <a:spcAft>
        <a:spcPts val="600"/>
      </a:spcAft>
      <a:buClr>
        <a:schemeClr val="tx1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03275" indent="-179388" algn="l" defTabSz="914400" rtl="0" eaLnBrk="1" latinLnBrk="0" hangingPunct="1">
      <a:spcBef>
        <a:spcPts val="0"/>
      </a:spcBef>
      <a:spcAft>
        <a:spcPts val="600"/>
      </a:spcAft>
      <a:buClr>
        <a:schemeClr val="tx1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803275" indent="-179388" algn="l" defTabSz="914400" rtl="0" eaLnBrk="1" latinLnBrk="0" hangingPunct="1">
      <a:spcBef>
        <a:spcPts val="0"/>
      </a:spcBef>
      <a:spcAft>
        <a:spcPts val="600"/>
      </a:spcAft>
      <a:buClr>
        <a:schemeClr val="tx1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803275" indent="-179388" algn="l" defTabSz="914400" rtl="0" eaLnBrk="1" latinLnBrk="0" hangingPunct="1">
      <a:spcBef>
        <a:spcPts val="0"/>
      </a:spcBef>
      <a:spcAft>
        <a:spcPts val="600"/>
      </a:spcAft>
      <a:buClr>
        <a:schemeClr val="tx1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3885" userDrawn="1">
          <p15:clr>
            <a:srgbClr val="F26B43"/>
          </p15:clr>
        </p15:guide>
        <p15:guide id="2" orient="horz" pos="3022" userDrawn="1">
          <p15:clr>
            <a:srgbClr val="F26B43"/>
          </p15:clr>
        </p15:guide>
        <p15:guide id="4" orient="horz" pos="770" userDrawn="1">
          <p15:clr>
            <a:srgbClr val="F26B43"/>
          </p15:clr>
        </p15:guide>
        <p15:guide id="5" pos="434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8975" y="1219200"/>
            <a:ext cx="5472113" cy="30781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r>
              <a:rPr lang="de-DE">
                <a:solidFill>
                  <a:schemeClr val="bg2"/>
                </a:solidFill>
              </a:rPr>
              <a:t>Page </a:t>
            </a:r>
            <a:fld id="{C0069AEE-D70F-4F66-B615-13FB9818742B}" type="slidenum">
              <a:rPr smtClean="0">
                <a:solidFill>
                  <a:schemeClr val="bg2"/>
                </a:solidFill>
              </a:rPr>
              <a:pPr rtl="0"/>
              <a:t>2</a:t>
            </a:fld>
            <a:endParaRPr lang="de-DE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5383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8975" y="1219200"/>
            <a:ext cx="5472113" cy="30781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solidFill>
                  <a:schemeClr val="bg2"/>
                </a:solidFill>
              </a:rPr>
              <a:t>Page </a:t>
            </a:r>
            <a:fld id="{C0069AEE-D70F-4F66-B615-13FB9818742B}" type="slidenum">
              <a:rPr smtClean="0">
                <a:solidFill>
                  <a:schemeClr val="bg2"/>
                </a:solidFill>
              </a:rPr>
              <a:pPr/>
              <a:t>8</a:t>
            </a:fld>
            <a:endParaRPr lang="en-US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6506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8975" y="1219200"/>
            <a:ext cx="5472113" cy="30781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de-DE" sz="12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800" b="0" i="0" u="none" strike="noStrike" kern="1200" cap="none" spc="0" normalizeH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 Light" panose="020B0304020202020204" pitchFamily="34" charset="0"/>
              </a:rPr>
              <a:t>Page </a:t>
            </a:r>
            <a:fld id="{C0069AEE-D70F-4F66-B615-13FB9818742B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 Light" panose="020B0304020202020204" pitchFamily="34" charset="0"/>
                <a:ea typeface="Yu Gothic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 panose="020B0304020202020204" pitchFamily="34" charset="0"/>
              <a:ea typeface="Yu Gothic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92903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430293-8E02-F758-9DC3-07F6DA646D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E7B51A5-E27D-49CB-C42D-EF1DBF5884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8975" y="1219200"/>
            <a:ext cx="5472113" cy="307816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C015F6D-C12A-CA78-3560-92464D634D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de-DE" sz="12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3267771-AD22-A626-B114-3AD40B3E733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800" b="0" i="0" u="none" strike="noStrike" kern="1200" cap="none" spc="0" normalizeH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 Light" panose="020B0304020202020204" pitchFamily="34" charset="0"/>
              </a:rPr>
              <a:t>Page </a:t>
            </a:r>
            <a:fld id="{C0069AEE-D70F-4F66-B615-13FB9818742B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 Light" panose="020B0304020202020204" pitchFamily="34" charset="0"/>
                <a:ea typeface="Yu Gothic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 panose="020B0304020202020204" pitchFamily="34" charset="0"/>
              <a:ea typeface="Yu Gothic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8219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B70731-DBA8-217B-5473-8D144CC701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15E4209-3417-BFA3-DB96-E1B5B95507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8975" y="1219200"/>
            <a:ext cx="5472113" cy="3078163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BD51FAB-6B32-3ADB-023D-C02DA1B9D6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de-DE" sz="12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59867B-83A6-8155-AB21-99307607F5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800" b="0" i="0" u="none" strike="noStrike" kern="1200" cap="none" spc="0" normalizeH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 Light" panose="020B0304020202020204" pitchFamily="34" charset="0"/>
              </a:rPr>
              <a:t>Page </a:t>
            </a:r>
            <a:fld id="{C0069AEE-D70F-4F66-B615-13FB9818742B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 Light" panose="020B0304020202020204" pitchFamily="34" charset="0"/>
                <a:ea typeface="Yu Gothic" panose="020B0400000000000000" pitchFamily="34" charset="-128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 panose="020B0304020202020204" pitchFamily="34" charset="0"/>
              <a:ea typeface="Yu Gothic" panose="020B04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974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96913" y="1222375"/>
            <a:ext cx="5483225" cy="30845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3723" y="4570335"/>
            <a:ext cx="5493724" cy="4134535"/>
          </a:xfrm>
        </p:spPr>
        <p:txBody>
          <a:bodyPr rtlCol="0"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r>
              <a:rPr lang="de-DE">
                <a:solidFill>
                  <a:schemeClr val="bg2"/>
                </a:solidFill>
              </a:rPr>
              <a:t>Page </a:t>
            </a:r>
            <a:fld id="{C0069AEE-D70F-4F66-B615-13FB9818742B}" type="slidenum">
              <a:rPr smtClean="0">
                <a:solidFill>
                  <a:schemeClr val="bg2"/>
                </a:solidFill>
              </a:rPr>
              <a:pPr rtl="0"/>
              <a:t>18</a:t>
            </a:fld>
            <a:endParaRPr lang="de-DE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072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Full Image Blue +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CC4F6E3-7E19-47A9-AED1-9B1AF36482A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</p:spPr>
        <p:txBody>
          <a:bodyPr wrap="square" bIns="936000" anchor="ctr" anchorCtr="0">
            <a:noAutofit/>
          </a:bodyPr>
          <a:lstStyle>
            <a:lvl1pPr algn="ctr">
              <a:defRPr sz="1100" i="1">
                <a:solidFill>
                  <a:schemeClr val="bg2"/>
                </a:solidFill>
              </a:defRPr>
            </a:lvl1pPr>
          </a:lstStyle>
          <a:p>
            <a:r>
              <a:rPr lang="en-US"/>
              <a:t>Add image</a:t>
            </a:r>
            <a:br>
              <a:rPr lang="en-US"/>
            </a:br>
            <a:r>
              <a:rPr lang="en-US"/>
              <a:t>by clicking on symbol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720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3287688" y="1556928"/>
            <a:ext cx="8351862" cy="1224000"/>
          </a:xfrm>
        </p:spPr>
        <p:txBody>
          <a:bodyPr wrap="square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115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6" name="Textplatzhalter 15"/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550862" y="5434176"/>
            <a:ext cx="6120000" cy="288000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9pPr>
          </a:lstStyle>
          <a:p>
            <a:pPr lvl="0"/>
            <a:r>
              <a:rPr lang="en-US" noProof="0"/>
              <a:t>Edit subtitle by clicking</a:t>
            </a:r>
          </a:p>
          <a:p>
            <a:pPr lvl="0"/>
            <a:endParaRPr lang="en-US"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1" hasCustomPrompt="1"/>
          </p:nvPr>
        </p:nvSpPr>
        <p:spPr bwMode="gray">
          <a:xfrm>
            <a:off x="550862" y="5733288"/>
            <a:ext cx="6120000" cy="288000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9pPr>
          </a:lstStyle>
          <a:p>
            <a:pPr lvl="0"/>
            <a:r>
              <a:rPr lang="en-US" noProof="0"/>
              <a:t>Name Speaker</a:t>
            </a:r>
          </a:p>
          <a:p>
            <a:pPr lvl="0"/>
            <a:endParaRPr lang="en-US" noProof="0"/>
          </a:p>
        </p:txBody>
      </p:sp>
      <p:sp>
        <p:nvSpPr>
          <p:cNvPr id="9" name="Bildplatzhalter 5">
            <a:extLst>
              <a:ext uri="{FF2B5EF4-FFF2-40B4-BE49-F238E27FC236}">
                <a16:creationId xmlns:a16="http://schemas.microsoft.com/office/drawing/2014/main" id="{D5D53BB0-89C7-4B71-A2BD-FE9F1F9A9541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550862" y="4581128"/>
            <a:ext cx="3600000" cy="590001"/>
          </a:xfrm>
          <a:prstGeom prst="rect">
            <a:avLst/>
          </a:prstGeom>
          <a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 contras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25DB954-662B-4EF4-8C52-FE7346645D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287688" y="476808"/>
            <a:ext cx="8351862" cy="1224000"/>
          </a:xfrm>
        </p:spPr>
        <p:txBody>
          <a:bodyPr anchor="b">
            <a:normAutofit/>
          </a:bodyPr>
          <a:lstStyle>
            <a:lvl1pPr algn="r">
              <a:defRPr sz="7000"/>
            </a:lvl1pPr>
            <a:lvl2pPr marL="0" indent="0" algn="r">
              <a:buFont typeface="Arial" panose="020B0604020202020204" pitchFamily="34" charset="0"/>
              <a:buNone/>
              <a:defRPr sz="7000" b="1" cap="none">
                <a:solidFill>
                  <a:schemeClr val="tx1"/>
                </a:solidFill>
                <a:latin typeface="+mj-lt"/>
              </a:defRPr>
            </a:lvl2pPr>
            <a:lvl3pPr marL="0" indent="0" algn="r">
              <a:buNone/>
              <a:defRPr sz="7000" b="1" cap="none">
                <a:solidFill>
                  <a:schemeClr val="tx1"/>
                </a:solidFill>
                <a:latin typeface="+mj-lt"/>
              </a:defRPr>
            </a:lvl3pPr>
            <a:lvl4pPr marL="0" indent="0" algn="r">
              <a:buNone/>
              <a:defRPr sz="7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buNone/>
              <a:defRPr sz="7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buNone/>
              <a:defRPr sz="7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buNone/>
              <a:defRPr sz="7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buNone/>
              <a:defRPr sz="7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buNone/>
              <a:defRPr sz="7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PRESENTATION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4EF62A95-1C85-FD57-28FD-FA5B2EBD32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290565" y="404813"/>
            <a:ext cx="354913" cy="293047"/>
          </a:xfrm>
          <a:blipFill>
            <a:blip r:embed="rId8"/>
            <a:srcRect/>
            <a:stretch>
              <a:fillRect l="-632" r="-632"/>
            </a:stretch>
          </a:blipFill>
        </p:spPr>
        <p:txBody>
          <a:bodyPr/>
          <a:lstStyle>
            <a:lvl1pPr marL="0">
              <a:buFontTx/>
              <a:buNone/>
              <a:defRPr>
                <a:noFill/>
              </a:defRPr>
            </a:lvl1pPr>
            <a:lvl2pPr marL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413856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pter + Full Image, blu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3">
            <a:extLst>
              <a:ext uri="{FF2B5EF4-FFF2-40B4-BE49-F238E27FC236}">
                <a16:creationId xmlns:a16="http://schemas.microsoft.com/office/drawing/2014/main" id="{EB5CE3B6-1769-4A81-9D8E-1387F3B6FCD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73FEEDE-B5F7-474B-A522-6D25B7EA96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2450" y="5085184"/>
            <a:ext cx="11088828" cy="936000"/>
          </a:xfrm>
        </p:spPr>
        <p:txBody>
          <a:bodyPr wrap="square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800" cap="all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NAME</a:t>
            </a:r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A3FFBAEE-3F7B-4331-1B21-B576895FE8F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0766478" y="6456530"/>
            <a:ext cx="874800" cy="14337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30DCB4D-56D0-40F1-C61B-916C53266F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4077072"/>
            <a:ext cx="11088687" cy="864096"/>
          </a:xfrm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4800" b="0" cap="all" baseline="0">
                <a:solidFill>
                  <a:schemeClr val="tx1"/>
                </a:solidFill>
                <a:latin typeface="+mn-lt"/>
              </a:defRPr>
            </a:lvl1pPr>
            <a:lvl2pPr marL="0" indent="0" algn="r">
              <a:buFont typeface="Arial" panose="020B0604020202020204" pitchFamily="34" charset="0"/>
              <a:buNone/>
              <a:defRPr sz="4800" cap="all" baseline="0">
                <a:solidFill>
                  <a:schemeClr val="tx1"/>
                </a:solidFill>
              </a:defRPr>
            </a:lvl2pPr>
            <a:lvl3pPr marL="0" indent="0" algn="r">
              <a:buNone/>
              <a:defRPr sz="4800" cap="all" baseline="0">
                <a:solidFill>
                  <a:schemeClr val="tx1"/>
                </a:solidFill>
              </a:defRPr>
            </a:lvl3pPr>
            <a:lvl4pPr marL="0" indent="0" algn="r">
              <a:buNone/>
              <a:defRPr sz="4800" cap="all" baseline="0">
                <a:solidFill>
                  <a:schemeClr val="tx1"/>
                </a:solidFill>
              </a:defRPr>
            </a:lvl4pPr>
            <a:lvl5pPr marL="0" indent="0" algn="r">
              <a:buNone/>
              <a:defRPr sz="4800" cap="all" baseline="0">
                <a:solidFill>
                  <a:schemeClr val="tx1"/>
                </a:solidFill>
              </a:defRPr>
            </a:lvl5pPr>
            <a:lvl6pPr marL="0" indent="0" algn="r">
              <a:buNone/>
              <a:defRPr sz="4800" cap="all" baseline="0">
                <a:solidFill>
                  <a:schemeClr val="tx1"/>
                </a:solidFill>
              </a:defRPr>
            </a:lvl6pPr>
            <a:lvl7pPr marL="0" indent="0" algn="r">
              <a:buNone/>
              <a:defRPr sz="4800" cap="all" baseline="0">
                <a:solidFill>
                  <a:schemeClr val="tx1"/>
                </a:solidFill>
              </a:defRPr>
            </a:lvl7pPr>
            <a:lvl8pPr marL="0" indent="0" algn="r">
              <a:buNone/>
              <a:defRPr sz="4800" cap="all" baseline="0">
                <a:solidFill>
                  <a:schemeClr val="tx1"/>
                </a:solidFill>
              </a:defRPr>
            </a:lvl8pPr>
            <a:lvl9pPr marL="0" indent="0" algn="r">
              <a:buNone/>
              <a:defRPr sz="480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HAPTER NAME</a:t>
            </a:r>
          </a:p>
        </p:txBody>
      </p:sp>
    </p:spTree>
    <p:extLst>
      <p:ext uri="{BB962C8B-B14F-4D97-AF65-F5344CB8AC3E}">
        <p14:creationId xmlns:p14="http://schemas.microsoft.com/office/powerpoint/2010/main" val="503303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957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15" name="Fußzeilenplatzhalter 15">
            <a:extLst>
              <a:ext uri="{FF2B5EF4-FFF2-40B4-BE49-F238E27FC236}">
                <a16:creationId xmlns:a16="http://schemas.microsoft.com/office/drawing/2014/main" id="{B806FFBF-40E9-40B7-B366-A1DDABC9F7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55441" y="6453352"/>
            <a:ext cx="3815942" cy="144000"/>
          </a:xfrm>
          <a:prstGeom prst="rect">
            <a:avLst/>
          </a:prstGeom>
        </p:spPr>
        <p:txBody>
          <a:bodyPr vert="horz" wrap="square" lIns="0" tIns="21600" rIns="0" bIns="0" rtlCol="0" anchor="t">
            <a:no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Avenir 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en-US"/>
              <a:t>6. Anwendertreffen - Keynote ITO</a:t>
            </a:r>
          </a:p>
        </p:txBody>
      </p:sp>
      <p:sp>
        <p:nvSpPr>
          <p:cNvPr id="16" name="Foliennummernplatzhalter 16">
            <a:extLst>
              <a:ext uri="{FF2B5EF4-FFF2-40B4-BE49-F238E27FC236}">
                <a16:creationId xmlns:a16="http://schemas.microsoft.com/office/drawing/2014/main" id="{9604FC2B-919E-4719-9437-38A375F39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1384" y="6453352"/>
            <a:ext cx="504056" cy="144000"/>
          </a:xfrm>
          <a:prstGeom prst="rect">
            <a:avLst/>
          </a:prstGeom>
        </p:spPr>
        <p:txBody>
          <a:bodyPr vert="horz" wrap="square" lIns="0" tIns="21600" rIns="0" bIns="0" rtlCol="0" anchor="t">
            <a:noAutofit/>
          </a:bodyPr>
          <a:lstStyle>
            <a:lvl1pPr>
              <a:defRPr lang="de-DE" sz="800" b="0" smtClean="0">
                <a:solidFill>
                  <a:schemeClr val="tx1"/>
                </a:solidFill>
                <a:latin typeface="Avenir 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itel 4">
            <a:extLst>
              <a:ext uri="{FF2B5EF4-FFF2-40B4-BE49-F238E27FC236}">
                <a16:creationId xmlns:a16="http://schemas.microsoft.com/office/drawing/2014/main" id="{FFA37D55-E2FF-4FFC-8FAF-62ABB1CC3A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2450" y="764812"/>
            <a:ext cx="8638934" cy="432187"/>
          </a:xfrm>
        </p:spPr>
        <p:txBody>
          <a:bodyPr anchor="b" anchorCtr="0"/>
          <a:lstStyle/>
          <a:p>
            <a:r>
              <a:rPr lang="en-US"/>
              <a:t>Edit title master format by clicking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162B891F-8B9C-4BB8-B070-0D9BBAD465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2450" y="548813"/>
            <a:ext cx="8638934" cy="2160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defRPr sz="1400" b="0" cap="all" spc="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2pPr>
            <a:lvl3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3pPr>
            <a:lvl4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4pPr>
            <a:lvl5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5pPr>
            <a:lvl6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6pPr>
            <a:lvl7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7pPr>
            <a:lvl8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8pPr>
            <a:lvl9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Edit title master format by clicking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D20F81EF-50CD-4C63-BC2B-FB74B1E14C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52450" y="6062481"/>
            <a:ext cx="3598412" cy="123111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>
            <a:noAutofit/>
          </a:bodyPr>
          <a:lstStyle>
            <a:lvl1pPr>
              <a:defRPr lang="de-DE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Clr>
                <a:schemeClr val="bg2"/>
              </a:buClr>
            </a:pPr>
            <a:r>
              <a:rPr lang="en-US"/>
              <a:t>*Sour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5372D6-008B-4A5D-8742-B1A5D74EAE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52450" y="1484313"/>
            <a:ext cx="1108710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726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ext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841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15" name="Fußzeilenplatzhalter 15">
            <a:extLst>
              <a:ext uri="{FF2B5EF4-FFF2-40B4-BE49-F238E27FC236}">
                <a16:creationId xmlns:a16="http://schemas.microsoft.com/office/drawing/2014/main" id="{B806FFBF-40E9-40B7-B366-A1DDABC9F7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55441" y="6453352"/>
            <a:ext cx="3815942" cy="144000"/>
          </a:xfrm>
          <a:prstGeom prst="rect">
            <a:avLst/>
          </a:prstGeom>
        </p:spPr>
        <p:txBody>
          <a:bodyPr vert="horz" wrap="square" lIns="0" tIns="21600" rIns="0" bIns="0" rtlCol="0" anchor="t">
            <a:no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Avenir 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en-US"/>
              <a:t>6. Anwendertreffen - Keynote ITO</a:t>
            </a:r>
          </a:p>
        </p:txBody>
      </p:sp>
      <p:sp>
        <p:nvSpPr>
          <p:cNvPr id="16" name="Foliennummernplatzhalter 16">
            <a:extLst>
              <a:ext uri="{FF2B5EF4-FFF2-40B4-BE49-F238E27FC236}">
                <a16:creationId xmlns:a16="http://schemas.microsoft.com/office/drawing/2014/main" id="{9604FC2B-919E-4719-9437-38A375F39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1384" y="6453352"/>
            <a:ext cx="504056" cy="144000"/>
          </a:xfrm>
          <a:prstGeom prst="rect">
            <a:avLst/>
          </a:prstGeom>
        </p:spPr>
        <p:txBody>
          <a:bodyPr vert="horz" wrap="square" lIns="0" tIns="21600" rIns="0" bIns="0" rtlCol="0" anchor="t">
            <a:noAutofit/>
          </a:bodyPr>
          <a:lstStyle>
            <a:lvl1pPr>
              <a:defRPr lang="de-DE" sz="800" b="0" smtClean="0">
                <a:solidFill>
                  <a:schemeClr val="tx1"/>
                </a:solidFill>
                <a:latin typeface="Avenir 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1" name="Titel 4">
            <a:extLst>
              <a:ext uri="{FF2B5EF4-FFF2-40B4-BE49-F238E27FC236}">
                <a16:creationId xmlns:a16="http://schemas.microsoft.com/office/drawing/2014/main" id="{D22A486A-F354-414B-91C8-B8C6EDA4EB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2450" y="764812"/>
            <a:ext cx="8638934" cy="432187"/>
          </a:xfrm>
        </p:spPr>
        <p:txBody>
          <a:bodyPr anchor="b" anchorCtr="0"/>
          <a:lstStyle/>
          <a:p>
            <a:r>
              <a:rPr lang="en-US"/>
              <a:t>Edit title master format by clicking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0DF3DC04-F9A0-479B-A800-472FCBECA2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52450" y="548813"/>
            <a:ext cx="8638934" cy="2160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defRPr sz="1400" b="0" cap="all" spc="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2pPr>
            <a:lvl3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3pPr>
            <a:lvl4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4pPr>
            <a:lvl5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5pPr>
            <a:lvl6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6pPr>
            <a:lvl7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7pPr>
            <a:lvl8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8pPr>
            <a:lvl9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Edit title master format by clicking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8E33EC8F-4A47-41B5-814F-2C0C36AFF6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52450" y="6062481"/>
            <a:ext cx="3598412" cy="123111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>
            <a:noAutofit/>
          </a:bodyPr>
          <a:lstStyle>
            <a:lvl1pPr>
              <a:defRPr lang="de-DE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Clr>
                <a:schemeClr val="bg2"/>
              </a:buClr>
            </a:pPr>
            <a:r>
              <a:rPr lang="en-US"/>
              <a:t>*Sour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A97711B-52C3-4424-BD4F-275C0F6E5E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52450" y="1484313"/>
            <a:ext cx="11087100" cy="4537075"/>
          </a:xfrm>
        </p:spPr>
        <p:txBody>
          <a:bodyPr/>
          <a:lstStyle>
            <a:lvl1pPr marL="216000" indent="-216000">
              <a:buFont typeface="Arial" panose="020B0604020202020204" pitchFamily="34" charset="0"/>
              <a:buChar char="•"/>
              <a:defRPr b="0">
                <a:solidFill>
                  <a:schemeClr val="bg2"/>
                </a:solidFill>
              </a:defRPr>
            </a:lvl1pPr>
            <a:lvl2pPr marL="432000" indent="-216000">
              <a:buFont typeface="Arial" panose="020B0604020202020204" pitchFamily="34" charset="0"/>
              <a:buChar char="•"/>
              <a:defRPr sz="1600"/>
            </a:lvl2pPr>
            <a:lvl3pPr marL="648000" indent="-216000">
              <a:defRPr sz="1400"/>
            </a:lvl3pPr>
            <a:lvl4pPr marL="864000" indent="-216000">
              <a:defRPr sz="1400"/>
            </a:lvl4pPr>
            <a:lvl5pPr marL="1080000" indent="-216000">
              <a:defRPr sz="1400"/>
            </a:lvl5pPr>
            <a:lvl6pPr marL="1296000" indent="-216000">
              <a:defRPr sz="1400"/>
            </a:lvl6pPr>
            <a:lvl7pPr marL="1512000" indent="-216000">
              <a:defRPr sz="1400"/>
            </a:lvl7pPr>
            <a:lvl8pPr marL="1728000" indent="-216000">
              <a:defRPr sz="1400"/>
            </a:lvl8pPr>
            <a:lvl9pPr marL="1944000" indent="-216000"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8503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030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9" name="Fußzeilenplatzhalter 15">
            <a:extLst>
              <a:ext uri="{FF2B5EF4-FFF2-40B4-BE49-F238E27FC236}">
                <a16:creationId xmlns:a16="http://schemas.microsoft.com/office/drawing/2014/main" id="{09C16965-EC26-4585-83A0-9CD38E558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55441" y="6453352"/>
            <a:ext cx="3815942" cy="144000"/>
          </a:xfrm>
          <a:prstGeom prst="rect">
            <a:avLst/>
          </a:prstGeom>
        </p:spPr>
        <p:txBody>
          <a:bodyPr vert="horz" wrap="square" lIns="0" tIns="21600" rIns="0" bIns="0" rtlCol="0" anchor="t">
            <a:no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Avenir 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en-US"/>
              <a:t>6. Anwendertreffen - Keynote ITO</a:t>
            </a:r>
          </a:p>
        </p:txBody>
      </p:sp>
      <p:sp>
        <p:nvSpPr>
          <p:cNvPr id="11" name="Foliennummernplatzhalter 16">
            <a:extLst>
              <a:ext uri="{FF2B5EF4-FFF2-40B4-BE49-F238E27FC236}">
                <a16:creationId xmlns:a16="http://schemas.microsoft.com/office/drawing/2014/main" id="{415BBAD0-9AA3-446F-AF35-B695438488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1384" y="6453352"/>
            <a:ext cx="504056" cy="144000"/>
          </a:xfrm>
          <a:prstGeom prst="rect">
            <a:avLst/>
          </a:prstGeom>
        </p:spPr>
        <p:txBody>
          <a:bodyPr vert="horz" wrap="square" lIns="0" tIns="21600" rIns="0" bIns="0" rtlCol="0" anchor="t">
            <a:noAutofit/>
          </a:bodyPr>
          <a:lstStyle>
            <a:lvl1pPr>
              <a:defRPr lang="de-DE" sz="800" b="0" smtClean="0">
                <a:solidFill>
                  <a:schemeClr val="tx1"/>
                </a:solidFill>
                <a:latin typeface="Avenir 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0" name="Titel 4">
            <a:extLst>
              <a:ext uri="{FF2B5EF4-FFF2-40B4-BE49-F238E27FC236}">
                <a16:creationId xmlns:a16="http://schemas.microsoft.com/office/drawing/2014/main" id="{1B6CCEC2-9AB4-43FC-B492-8AAB97FC93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764812"/>
            <a:ext cx="8640000" cy="432187"/>
          </a:xfrm>
        </p:spPr>
        <p:txBody>
          <a:bodyPr anchor="b" anchorCtr="0"/>
          <a:lstStyle/>
          <a:p>
            <a:r>
              <a:rPr lang="en-US"/>
              <a:t>Edit title master format by clicking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BA87F995-8B5E-415F-9FF8-FA1049687D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1384" y="548813"/>
            <a:ext cx="8640000" cy="2160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defRPr sz="1400" b="0" cap="all" spc="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2pPr>
            <a:lvl3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3pPr>
            <a:lvl4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4pPr>
            <a:lvl5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5pPr>
            <a:lvl6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6pPr>
            <a:lvl7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7pPr>
            <a:lvl8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8pPr>
            <a:lvl9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Edit title master format by clicki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2BD31D8-FB13-43F9-A432-697C4B7F22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50862" y="6062481"/>
            <a:ext cx="3600000" cy="123111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>
            <a:noAutofit/>
          </a:bodyPr>
          <a:lstStyle>
            <a:lvl1pPr>
              <a:defRPr lang="de-DE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Clr>
                <a:schemeClr val="bg2"/>
              </a:buClr>
            </a:pPr>
            <a:r>
              <a:rPr lang="en-US"/>
              <a:t>*Source</a:t>
            </a:r>
          </a:p>
        </p:txBody>
      </p:sp>
    </p:spTree>
    <p:extLst>
      <p:ext uri="{BB962C8B-B14F-4D97-AF65-F5344CB8AC3E}">
        <p14:creationId xmlns:p14="http://schemas.microsoft.com/office/powerpoint/2010/main" val="37219833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5925ED-73E6-4F46-8D72-81A464520C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DE68C1-88F0-407B-87FA-A0CDE8628D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40146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i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5925ED-73E6-4F46-8D72-81A464520C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DE68C1-88F0-407B-87FA-A0CDE8628D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3208C2BA-E6E8-A696-44D1-DDCED863A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1291456" y="0"/>
            <a:ext cx="3240360" cy="2924944"/>
          </a:xfrm>
          <a:solidFill>
            <a:schemeClr val="tx1"/>
          </a:solidFill>
        </p:spPr>
        <p:txBody>
          <a:bodyPr lIns="360000" tIns="936000" rIns="360000" bIns="360000"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title master format by clicking</a:t>
            </a:r>
          </a:p>
        </p:txBody>
      </p:sp>
    </p:spTree>
    <p:extLst>
      <p:ext uri="{BB962C8B-B14F-4D97-AF65-F5344CB8AC3E}">
        <p14:creationId xmlns:p14="http://schemas.microsoft.com/office/powerpoint/2010/main" val="15235169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hree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>
            <a:extLst>
              <a:ext uri="{FF2B5EF4-FFF2-40B4-BE49-F238E27FC236}">
                <a16:creationId xmlns:a16="http://schemas.microsoft.com/office/drawing/2014/main" id="{FBAB6C58-A040-6C7A-FF95-513C313537D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453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C9CB1415-0004-C7CC-D0D9-D944AE5EE9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016104" y="3068960"/>
            <a:ext cx="720000" cy="432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000" b="1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sz="30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632C6FF-CB2D-4B5C-EAE6-6DCBE567045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7327608" y="3068960"/>
            <a:ext cx="720000" cy="432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000" b="1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sz="30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765375B0-07B1-12DB-B6B3-9EC032A0AE3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9616242" y="3068960"/>
            <a:ext cx="720000" cy="432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000" b="1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sz="30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57C49EF0-2D54-0709-4576-AB1CDA961E9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>
          <a:xfrm>
            <a:off x="5016104" y="3573016"/>
            <a:ext cx="2016000" cy="2448372"/>
          </a:xfrm>
        </p:spPr>
        <p:txBody>
          <a:bodyPr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061253EB-0064-8A99-0F2C-82DDB325EFB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 bwMode="gray">
          <a:xfrm>
            <a:off x="7320360" y="3573016"/>
            <a:ext cx="2016000" cy="2448372"/>
          </a:xfrm>
        </p:spPr>
        <p:txBody>
          <a:bodyPr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99620F72-3DCC-FD2C-B73A-2DE3532C153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>
          <a:xfrm>
            <a:off x="9624616" y="3573016"/>
            <a:ext cx="2016000" cy="2448372"/>
          </a:xfrm>
        </p:spPr>
        <p:txBody>
          <a:bodyPr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F7047A39-85D5-FD7A-B30A-3AFD8539F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3143672" y="0"/>
            <a:ext cx="2952328" cy="2276872"/>
          </a:xfrm>
          <a:solidFill>
            <a:schemeClr val="tx1"/>
          </a:solidFill>
        </p:spPr>
        <p:txBody>
          <a:bodyPr lIns="360000" tIns="360000" rIns="360000" bIns="360000" anchor="t" anchorCtr="0"/>
          <a:lstStyle>
            <a:lvl1pPr>
              <a:defRPr sz="1800" spc="3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Edit title master format by clicking</a:t>
            </a:r>
          </a:p>
        </p:txBody>
      </p:sp>
    </p:spTree>
    <p:extLst>
      <p:ext uri="{BB962C8B-B14F-4D97-AF65-F5344CB8AC3E}">
        <p14:creationId xmlns:p14="http://schemas.microsoft.com/office/powerpoint/2010/main" val="38061470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with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26">
            <a:extLst>
              <a:ext uri="{FF2B5EF4-FFF2-40B4-BE49-F238E27FC236}">
                <a16:creationId xmlns:a16="http://schemas.microsoft.com/office/drawing/2014/main" id="{D8679C3A-B5E6-FF84-FD6F-FA44F15CC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71864" y="1700808"/>
            <a:ext cx="3528392" cy="5157192"/>
          </a:xfrm>
          <a:solidFill>
            <a:schemeClr val="tx2"/>
          </a:solidFill>
        </p:spPr>
        <p:txBody>
          <a:bodyPr wrap="none" lIns="504000" tIns="432000" rIns="0" bIns="720000" anchor="b" anchorCtr="0"/>
          <a:lstStyle>
            <a:lvl1pPr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Edit</a:t>
            </a:r>
            <a:br>
              <a:rPr lang="en-US"/>
            </a:br>
            <a:r>
              <a:rPr lang="en-US"/>
              <a:t>title master</a:t>
            </a:r>
            <a:br>
              <a:rPr lang="en-US"/>
            </a:br>
            <a:r>
              <a:rPr lang="en-US"/>
              <a:t>forma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5925ED-73E6-4F46-8D72-81A464520C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055441" y="6453352"/>
            <a:ext cx="3456000" cy="144000"/>
          </a:xfrm>
        </p:spPr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DE68C1-88F0-407B-87FA-A0CDE8628D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7CBE435C-38BF-793B-50E7-31DB63624CC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999656" y="0"/>
            <a:ext cx="2448272" cy="3356992"/>
          </a:xfrm>
          <a:prstGeom prst="rect">
            <a:avLst/>
          </a:prstGeom>
          <a:noFill/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7" name="Bildplatzhalter 3">
            <a:extLst>
              <a:ext uri="{FF2B5EF4-FFF2-40B4-BE49-F238E27FC236}">
                <a16:creationId xmlns:a16="http://schemas.microsoft.com/office/drawing/2014/main" id="{CF649400-712B-8636-52EA-657D8D8CC3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960096" y="1340768"/>
            <a:ext cx="2448272" cy="3168352"/>
          </a:xfrm>
          <a:prstGeom prst="rect">
            <a:avLst/>
          </a:prstGeom>
          <a:noFill/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384E5187-7B41-E31D-CECE-CE5015E39C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2996952"/>
            <a:ext cx="1440000" cy="432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sz="36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EDAA2CAB-25BC-B0CA-3D70-A1B43B69BEC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9631864" y="3644924"/>
            <a:ext cx="1440000" cy="432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sz="36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0" name="Textplatzhalter 22">
            <a:extLst>
              <a:ext uri="{FF2B5EF4-FFF2-40B4-BE49-F238E27FC236}">
                <a16:creationId xmlns:a16="http://schemas.microsoft.com/office/drawing/2014/main" id="{AAB8662A-8EA4-54C6-7C03-D7DECE07D28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>
          <a:xfrm>
            <a:off x="1487488" y="3501316"/>
            <a:ext cx="2016000" cy="1872000"/>
          </a:xfrm>
        </p:spPr>
        <p:txBody>
          <a:bodyPr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1" name="Textplatzhalter 22">
            <a:extLst>
              <a:ext uri="{FF2B5EF4-FFF2-40B4-BE49-F238E27FC236}">
                <a16:creationId xmlns:a16="http://schemas.microsoft.com/office/drawing/2014/main" id="{23A2B59D-70F8-424D-91FB-37B60090012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 bwMode="gray">
          <a:xfrm>
            <a:off x="9624616" y="4149288"/>
            <a:ext cx="2016000" cy="1872000"/>
          </a:xfrm>
        </p:spPr>
        <p:txBody>
          <a:bodyPr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066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Empty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8DE000D-2386-A6D1-BB63-47CE8556F27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>
          <a:xfrm>
            <a:off x="1055441" y="6453352"/>
            <a:ext cx="2592000" cy="144000"/>
          </a:xfrm>
        </p:spPr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A3B65BF0-3475-BB87-8D21-51197BEB8C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764704"/>
            <a:ext cx="5472000" cy="3960440"/>
          </a:xfrm>
          <a:prstGeom prst="rect">
            <a:avLst/>
          </a:prstGeom>
          <a:noFill/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191F50D-BF6C-FFD0-FF8F-6042815FBCF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71C7CD1-C5FC-8FFD-0A09-317277038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9737" y="3933056"/>
            <a:ext cx="3528391" cy="2924944"/>
          </a:xfrm>
          <a:solidFill>
            <a:schemeClr val="tx2"/>
          </a:solidFill>
        </p:spPr>
        <p:txBody>
          <a:bodyPr wrap="none" lIns="504000" tIns="432000" rIns="0" bIns="720000" anchor="b" anchorCtr="0"/>
          <a:lstStyle>
            <a:lvl1pPr>
              <a:defRPr sz="4000"/>
            </a:lvl1pPr>
          </a:lstStyle>
          <a:p>
            <a:r>
              <a:rPr lang="en-US"/>
              <a:t>Edit title master</a:t>
            </a:r>
            <a:br>
              <a:rPr lang="en-US"/>
            </a:br>
            <a:r>
              <a:rPr lang="en-US"/>
              <a:t>format by clicking</a:t>
            </a:r>
          </a:p>
        </p:txBody>
      </p:sp>
    </p:spTree>
    <p:extLst>
      <p:ext uri="{BB962C8B-B14F-4D97-AF65-F5344CB8AC3E}">
        <p14:creationId xmlns:p14="http://schemas.microsoft.com/office/powerpoint/2010/main" val="2943278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with Empty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A3B65BF0-3475-BB87-8D21-51197BEB8C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547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71C7CD1-C5FC-8FFD-0A09-317277038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41529" y="1124840"/>
            <a:ext cx="5399087" cy="864000"/>
          </a:xfrm>
        </p:spPr>
        <p:txBody>
          <a:bodyPr anchor="b" anchorCtr="0"/>
          <a:lstStyle/>
          <a:p>
            <a:r>
              <a:rPr lang="en-US"/>
              <a:t>Edit title master format by clicking</a:t>
            </a:r>
          </a:p>
        </p:txBody>
      </p:sp>
      <p:sp>
        <p:nvSpPr>
          <p:cNvPr id="11" name="Textplatzhalter 33">
            <a:extLst>
              <a:ext uri="{FF2B5EF4-FFF2-40B4-BE49-F238E27FC236}">
                <a16:creationId xmlns:a16="http://schemas.microsoft.com/office/drawing/2014/main" id="{40E80046-A892-23DE-C587-3800C387D04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 bwMode="invGray">
          <a:xfrm>
            <a:off x="4799856" y="4581128"/>
            <a:ext cx="2951162" cy="2276872"/>
          </a:xfrm>
          <a:solidFill>
            <a:schemeClr val="tx1"/>
          </a:solidFill>
        </p:spPr>
        <p:txBody>
          <a:bodyPr lIns="360000" tIns="360000" rIns="360000" bIns="360000" anchor="t" anchorCtr="0"/>
          <a:lstStyle>
            <a:lvl1pPr>
              <a:spcAft>
                <a:spcPts val="0"/>
              </a:spcAft>
              <a:defRPr sz="1800" b="1" cap="all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defRPr sz="1800" b="0" cap="all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FontTx/>
              <a:buNone/>
              <a:defRPr sz="1800" b="0" cap="all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FontTx/>
              <a:buNone/>
              <a:defRPr sz="1800" b="0" cap="all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FontTx/>
              <a:buNone/>
              <a:defRPr sz="1800" b="0" cap="all">
                <a:solidFill>
                  <a:schemeClr val="bg1"/>
                </a:solidFill>
                <a:latin typeface="+mj-lt"/>
              </a:defRPr>
            </a:lvl5pPr>
            <a:lvl6pPr marL="0" indent="0">
              <a:spcAft>
                <a:spcPts val="0"/>
              </a:spcAft>
              <a:buFontTx/>
              <a:buNone/>
              <a:defRPr sz="1800" b="0" cap="all">
                <a:solidFill>
                  <a:schemeClr val="bg1"/>
                </a:solidFill>
                <a:latin typeface="+mj-lt"/>
              </a:defRPr>
            </a:lvl6pPr>
            <a:lvl7pPr marL="0" indent="0">
              <a:spcAft>
                <a:spcPts val="0"/>
              </a:spcAft>
              <a:buFontTx/>
              <a:buNone/>
              <a:defRPr sz="1800" b="0" cap="all">
                <a:solidFill>
                  <a:schemeClr val="bg1"/>
                </a:solidFill>
                <a:latin typeface="+mj-lt"/>
              </a:defRPr>
            </a:lvl7pPr>
            <a:lvl8pPr marL="0" indent="0">
              <a:spcAft>
                <a:spcPts val="0"/>
              </a:spcAft>
              <a:buFontTx/>
              <a:buNone/>
              <a:defRPr sz="1800" b="0" cap="all">
                <a:solidFill>
                  <a:schemeClr val="bg1"/>
                </a:solidFill>
                <a:latin typeface="+mj-lt"/>
              </a:defRPr>
            </a:lvl8pPr>
            <a:lvl9pPr marL="0" indent="0">
              <a:spcAft>
                <a:spcPts val="0"/>
              </a:spcAft>
              <a:buFontTx/>
              <a:buNone/>
              <a:defRPr sz="1800" b="0" cap="all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79437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3096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29AC7B55-6F5B-4629-95DA-D940CF6CA5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268000" y="2781000"/>
            <a:ext cx="6120000" cy="1224000"/>
          </a:xfrm>
        </p:spPr>
        <p:txBody>
          <a:bodyPr wrap="square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00" cap="all" baseline="0"/>
            </a:lvl1pPr>
          </a:lstStyle>
          <a:p>
            <a:r>
              <a:rPr lang="en-US" noProof="0"/>
              <a:t>PRESENTATION </a:t>
            </a:r>
            <a:br>
              <a:rPr lang="en-US" noProof="0"/>
            </a:br>
            <a:r>
              <a:rPr lang="en-US" noProof="0"/>
              <a:t>TITLE MAX. 2 lines.</a:t>
            </a:r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id="{6482CC3A-4DFB-4DAB-85DE-10FEAA74D2B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268000" y="4221000"/>
            <a:ext cx="6120000" cy="288000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9pPr>
          </a:lstStyle>
          <a:p>
            <a:pPr lvl="0"/>
            <a:r>
              <a:rPr lang="en-US" noProof="0"/>
              <a:t>Edit subtitle by clicking</a:t>
            </a:r>
          </a:p>
        </p:txBody>
      </p:sp>
      <p:sp>
        <p:nvSpPr>
          <p:cNvPr id="15" name="Textplatzhalter 17">
            <a:extLst>
              <a:ext uri="{FF2B5EF4-FFF2-40B4-BE49-F238E27FC236}">
                <a16:creationId xmlns:a16="http://schemas.microsoft.com/office/drawing/2014/main" id="{11850B7A-541F-4925-A176-6D903FC85A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268000" y="4520112"/>
            <a:ext cx="6120000" cy="288000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9pPr>
          </a:lstStyle>
          <a:p>
            <a:pPr lvl="0"/>
            <a:r>
              <a:rPr lang="en-US" noProof="0"/>
              <a:t>Name Speaker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EFA26D4E-C1E8-4DB9-96FB-5DF2FB106A9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453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3AA2F12-F3C7-4FF8-88FF-4C8178EA7C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5268000" y="5428346"/>
            <a:ext cx="3600000" cy="592942"/>
          </a:xfrm>
          <a:prstGeom prst="rect">
            <a:avLst/>
          </a:prstGeom>
        </p:spPr>
      </p:pic>
      <p:pic>
        <p:nvPicPr>
          <p:cNvPr id="2" name="Grafik 1" descr="Ein Bild, das Logo, Grafiken, Grafikdesign, Schrift enthält.&#10;&#10;Automatisch generierte Beschreibung">
            <a:extLst>
              <a:ext uri="{FF2B5EF4-FFF2-40B4-BE49-F238E27FC236}">
                <a16:creationId xmlns:a16="http://schemas.microsoft.com/office/drawing/2014/main" id="{ABFF3642-3604-ECC8-4A43-6DB529DFDF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2916" t="26909" r="12916" b="30051"/>
          <a:stretch/>
        </p:blipFill>
        <p:spPr bwMode="gray">
          <a:xfrm>
            <a:off x="5268000" y="385537"/>
            <a:ext cx="393700" cy="322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4764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with Empty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A3B65BF0-3475-BB87-8D21-51197BEB8C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547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71C7CD1-C5FC-8FFD-0A09-317277038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41529" y="1124840"/>
            <a:ext cx="5399087" cy="86400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Edit title master format by clicking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2395349C-11CC-EC35-8DAC-C6EAF5B3CF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224072" y="2205152"/>
            <a:ext cx="2520000" cy="2520000"/>
          </a:xfrm>
          <a:prstGeom prst="rect">
            <a:avLst/>
          </a:prstGeom>
          <a:noFill/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16765623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with Three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A3B65BF0-3475-BB87-8D21-51197BEB8C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738660" y="1484313"/>
            <a:ext cx="6453340" cy="3672880"/>
          </a:xfrm>
          <a:prstGeom prst="rect">
            <a:avLst/>
          </a:prstGeom>
          <a:noFill/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2395349C-11CC-EC35-8DAC-C6EAF5B3CF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991544" y="3789040"/>
            <a:ext cx="3528392" cy="3068960"/>
          </a:xfrm>
          <a:prstGeom prst="rect">
            <a:avLst/>
          </a:prstGeom>
          <a:noFill/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760F1B2-27BF-7ED4-A47B-E4D3DE962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2450" y="405000"/>
            <a:ext cx="4895478" cy="792000"/>
          </a:xfrm>
        </p:spPr>
        <p:txBody>
          <a:bodyPr/>
          <a:lstStyle/>
          <a:p>
            <a:r>
              <a:rPr lang="en-US"/>
              <a:t>Edit title master format by clicking</a:t>
            </a:r>
          </a:p>
        </p:txBody>
      </p:sp>
      <p:sp>
        <p:nvSpPr>
          <p:cNvPr id="13" name="Textplatzhalter 22">
            <a:extLst>
              <a:ext uri="{FF2B5EF4-FFF2-40B4-BE49-F238E27FC236}">
                <a16:creationId xmlns:a16="http://schemas.microsoft.com/office/drawing/2014/main" id="{B8B9B60F-20B5-F9C9-5C60-4C9794BDB4E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>
          <a:xfrm>
            <a:off x="5735960" y="476877"/>
            <a:ext cx="2736000" cy="791883"/>
          </a:xfrm>
        </p:spPr>
        <p:txBody>
          <a:bodyPr anchor="b" anchorCtr="0"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Textplatzhalter 22">
            <a:extLst>
              <a:ext uri="{FF2B5EF4-FFF2-40B4-BE49-F238E27FC236}">
                <a16:creationId xmlns:a16="http://schemas.microsoft.com/office/drawing/2014/main" id="{C5238A9D-1CB5-8B63-CF53-01E44F30645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 bwMode="gray">
          <a:xfrm>
            <a:off x="1991544" y="2853016"/>
            <a:ext cx="2736000" cy="720000"/>
          </a:xfrm>
        </p:spPr>
        <p:txBody>
          <a:bodyPr anchor="b" anchorCtr="0"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platzhalter 22">
            <a:extLst>
              <a:ext uri="{FF2B5EF4-FFF2-40B4-BE49-F238E27FC236}">
                <a16:creationId xmlns:a16="http://schemas.microsoft.com/office/drawing/2014/main" id="{9E1BFC65-1EDC-F609-65F0-4DEADEF3EB9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>
          <a:xfrm>
            <a:off x="8472264" y="5373288"/>
            <a:ext cx="3167286" cy="648000"/>
          </a:xfrm>
        </p:spPr>
        <p:txBody>
          <a:bodyPr anchor="t" anchorCtr="0"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1796817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Collage with Empty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7E78E196-587A-BC5A-F8F4-5B26C46C6E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343472" y="0"/>
            <a:ext cx="4104456" cy="4221088"/>
          </a:xfrm>
          <a:prstGeom prst="rect">
            <a:avLst/>
          </a:prstGeom>
          <a:noFill/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3C0287FB-92B8-1ED9-40C9-0E09653381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591944" y="3284984"/>
            <a:ext cx="6600056" cy="357301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059DA9C3-077E-0A02-845F-85B28DF187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51784" y="1412776"/>
            <a:ext cx="2448000" cy="2304000"/>
          </a:xfrm>
          <a:solidFill>
            <a:schemeClr val="tx2"/>
          </a:solidFill>
        </p:spPr>
        <p:txBody>
          <a:bodyPr wrap="none" lIns="504000" tIns="0" rIns="0" anchor="ctr" anchorCtr="0"/>
          <a:lstStyle>
            <a:lvl1pPr>
              <a:defRPr sz="4000"/>
            </a:lvl1pPr>
          </a:lstStyle>
          <a:p>
            <a:r>
              <a:rPr lang="en-US"/>
              <a:t>Edit title master</a:t>
            </a:r>
            <a:br>
              <a:rPr lang="en-US"/>
            </a:br>
            <a:r>
              <a:rPr lang="en-US"/>
              <a:t>format by click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5925ED-73E6-4F46-8D72-81A464520C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DE68C1-88F0-407B-87FA-A0CDE8628D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182C2BE6-96C4-D8F9-E6E4-17EC33B1E5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-18380" y="4365104"/>
            <a:ext cx="2802012" cy="1512168"/>
          </a:xfrm>
          <a:prstGeom prst="rect">
            <a:avLst/>
          </a:prstGeom>
          <a:noFill/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4B72B512-DCE7-2F90-FA4E-C0D8CF11E5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927648" y="4365104"/>
            <a:ext cx="2520280" cy="1512168"/>
          </a:xfrm>
          <a:prstGeom prst="rect">
            <a:avLst/>
          </a:prstGeom>
          <a:noFill/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2" name="Bildplatzhalter 5">
            <a:extLst>
              <a:ext uri="{FF2B5EF4-FFF2-40B4-BE49-F238E27FC236}">
                <a16:creationId xmlns:a16="http://schemas.microsoft.com/office/drawing/2014/main" id="{16F426D0-8CE9-3506-3A26-DBF7C04F4EE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10766478" y="6456530"/>
            <a:ext cx="874800" cy="14337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274876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with Empty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7E78E196-587A-BC5A-F8F4-5B26C46C6E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720000" y="0"/>
            <a:ext cx="5472000" cy="68580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3C0287FB-92B8-1ED9-40C9-0E09653381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2924943"/>
            <a:ext cx="3143672" cy="1512169"/>
          </a:xfrm>
          <a:prstGeom prst="rect">
            <a:avLst/>
          </a:prstGeom>
          <a:noFill/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059DA9C3-077E-0A02-845F-85B28DF187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016152" y="4581384"/>
            <a:ext cx="2448000" cy="2276616"/>
          </a:xfrm>
          <a:solidFill>
            <a:schemeClr val="tx2"/>
          </a:solidFill>
        </p:spPr>
        <p:txBody>
          <a:bodyPr wrap="none" lIns="504000" tIns="0" rIns="0" bIns="720000" anchor="b" anchorCtr="0"/>
          <a:lstStyle>
            <a:lvl1pPr>
              <a:defRPr sz="4000"/>
            </a:lvl1pPr>
          </a:lstStyle>
          <a:p>
            <a:r>
              <a:rPr lang="en-US"/>
              <a:t>Edit title master</a:t>
            </a:r>
            <a:br>
              <a:rPr lang="en-US"/>
            </a:br>
            <a:r>
              <a:rPr lang="en-US"/>
              <a:t>format by click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5925ED-73E6-4F46-8D72-81A464520C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DE68C1-88F0-407B-87FA-A0CDE8628D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182C2BE6-96C4-D8F9-E6E4-17EC33B1E5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287864" y="2924944"/>
            <a:ext cx="1584000" cy="1512168"/>
          </a:xfrm>
          <a:prstGeom prst="rect">
            <a:avLst/>
          </a:prstGeom>
          <a:noFill/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4B72B512-DCE7-2F90-FA4E-C0D8CF11E5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015879" y="2924944"/>
            <a:ext cx="1554013" cy="1512168"/>
          </a:xfrm>
          <a:prstGeom prst="rect">
            <a:avLst/>
          </a:prstGeom>
          <a:noFill/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5" name="Bildplatzhalter 5">
            <a:extLst>
              <a:ext uri="{FF2B5EF4-FFF2-40B4-BE49-F238E27FC236}">
                <a16:creationId xmlns:a16="http://schemas.microsoft.com/office/drawing/2014/main" id="{CD18417E-49F2-6D96-DA81-2FE5BBE116A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10766478" y="6456530"/>
            <a:ext cx="874800" cy="14337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6" name="Textplatzhalter 14">
            <a:extLst>
              <a:ext uri="{FF2B5EF4-FFF2-40B4-BE49-F238E27FC236}">
                <a16:creationId xmlns:a16="http://schemas.microsoft.com/office/drawing/2014/main" id="{A048FA0A-E00D-1C81-78BE-209615F842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290565" y="404813"/>
            <a:ext cx="354913" cy="293047"/>
          </a:xfrm>
          <a:blipFill>
            <a:blip r:embed="rId3"/>
            <a:srcRect/>
            <a:stretch>
              <a:fillRect l="-632" r="-632"/>
            </a:stretch>
          </a:blipFill>
        </p:spPr>
        <p:txBody>
          <a:bodyPr/>
          <a:lstStyle>
            <a:lvl1pPr marL="0">
              <a:buFontTx/>
              <a:buNone/>
              <a:defRPr>
                <a:noFill/>
              </a:defRPr>
            </a:lvl1pPr>
            <a:lvl2pPr marL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735073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with Three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>
            <a:extLst>
              <a:ext uri="{FF2B5EF4-FFF2-40B4-BE49-F238E27FC236}">
                <a16:creationId xmlns:a16="http://schemas.microsoft.com/office/drawing/2014/main" id="{059DA9C3-077E-0A02-845F-85B28DF187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5360" y="-1"/>
            <a:ext cx="3024336" cy="3024000"/>
          </a:xfrm>
          <a:solidFill>
            <a:schemeClr val="tx2"/>
          </a:solidFill>
        </p:spPr>
        <p:txBody>
          <a:bodyPr wrap="none" lIns="504000" tIns="756000" anchor="t" anchorCtr="0"/>
          <a:lstStyle>
            <a:lvl1pPr>
              <a:defRPr sz="4000"/>
            </a:lvl1pPr>
          </a:lstStyle>
          <a:p>
            <a:r>
              <a:rPr lang="en-US"/>
              <a:t>Edit title mas-</a:t>
            </a:r>
            <a:br>
              <a:rPr lang="en-US"/>
            </a:br>
            <a:r>
              <a:rPr lang="en-US" err="1"/>
              <a:t>ter</a:t>
            </a:r>
            <a:r>
              <a:rPr lang="en-US"/>
              <a:t> format</a:t>
            </a:r>
            <a:br>
              <a:rPr lang="en-US"/>
            </a:br>
            <a:r>
              <a:rPr lang="en-US"/>
              <a:t>by clicking</a:t>
            </a:r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3C0287FB-92B8-1ED9-40C9-0E09653381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871864" y="2564904"/>
            <a:ext cx="1800000" cy="1872008"/>
          </a:xfrm>
          <a:prstGeom prst="rect">
            <a:avLst/>
          </a:prstGeom>
          <a:noFill/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5925ED-73E6-4F46-8D72-81A464520C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DE68C1-88F0-407B-87FA-A0CDE8628D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7E78E196-587A-BC5A-F8F4-5B26C46C6E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7656000" y="0"/>
            <a:ext cx="4536000" cy="52292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182C2BE6-96C4-D8F9-E6E4-17EC33B1E5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279576" y="2780928"/>
            <a:ext cx="1800200" cy="1871992"/>
          </a:xfrm>
          <a:prstGeom prst="rect">
            <a:avLst/>
          </a:prstGeom>
          <a:noFill/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4B72B512-DCE7-2F90-FA4E-C0D8CF11E5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863560" y="4293096"/>
            <a:ext cx="1224136" cy="1368152"/>
          </a:xfrm>
          <a:prstGeom prst="rect">
            <a:avLst/>
          </a:prstGeom>
          <a:noFill/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27" name="Textplatzhalter 22">
            <a:extLst>
              <a:ext uri="{FF2B5EF4-FFF2-40B4-BE49-F238E27FC236}">
                <a16:creationId xmlns:a16="http://schemas.microsoft.com/office/drawing/2014/main" id="{35A74A43-04A1-CABC-21E0-DA4E6B5A50E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>
          <a:xfrm>
            <a:off x="4871864" y="1484784"/>
            <a:ext cx="2520000" cy="936000"/>
          </a:xfrm>
        </p:spPr>
        <p:txBody>
          <a:bodyPr anchor="b" anchorCtr="0"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8" name="Textplatzhalter 22">
            <a:extLst>
              <a:ext uri="{FF2B5EF4-FFF2-40B4-BE49-F238E27FC236}">
                <a16:creationId xmlns:a16="http://schemas.microsoft.com/office/drawing/2014/main" id="{7A14A73B-AC4E-C6A7-78F0-D26A064E31D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 bwMode="gray">
          <a:xfrm>
            <a:off x="550863" y="4797152"/>
            <a:ext cx="2520000" cy="936000"/>
          </a:xfrm>
        </p:spPr>
        <p:txBody>
          <a:bodyPr anchor="t" anchorCtr="0"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9" name="Textplatzhalter 22">
            <a:extLst>
              <a:ext uri="{FF2B5EF4-FFF2-40B4-BE49-F238E27FC236}">
                <a16:creationId xmlns:a16="http://schemas.microsoft.com/office/drawing/2014/main" id="{06D12583-940A-01DE-49DF-AB903BE163F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>
          <a:xfrm>
            <a:off x="5231904" y="4725144"/>
            <a:ext cx="2160008" cy="1152000"/>
          </a:xfrm>
        </p:spPr>
        <p:txBody>
          <a:bodyPr anchor="t" anchorCtr="0"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8685780-56D1-9950-5ECF-05431BD729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290565" y="404813"/>
            <a:ext cx="354913" cy="293047"/>
          </a:xfrm>
          <a:blipFill>
            <a:blip r:embed="rId2"/>
            <a:srcRect/>
            <a:stretch>
              <a:fillRect l="-632" r="-632"/>
            </a:stretch>
          </a:blipFill>
        </p:spPr>
        <p:txBody>
          <a:bodyPr/>
          <a:lstStyle>
            <a:lvl1pPr marL="0">
              <a:buFontTx/>
              <a:buNone/>
              <a:defRPr>
                <a:noFill/>
              </a:defRPr>
            </a:lvl1pPr>
            <a:lvl2pPr marL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31345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2968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8F822D62-1C8F-4B44-8A98-E65C2FBB0CE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52450" y="2421000"/>
            <a:ext cx="11087550" cy="43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8800" b="1" kern="1200" cap="all" baseline="0">
                <a:solidFill>
                  <a:schemeClr val="tx1"/>
                </a:solidFill>
                <a:latin typeface="+mj-lt"/>
                <a:ea typeface="+mj-ea"/>
                <a:cs typeface="Segoe UI Light" panose="020B0502040204020203" pitchFamily="34" charset="0"/>
              </a:defRPr>
            </a:lvl1pPr>
          </a:lstStyle>
          <a:p>
            <a:r>
              <a:rPr lang="en-US" sz="2000">
                <a:solidFill>
                  <a:srgbClr val="A70532"/>
                </a:solidFill>
              </a:rPr>
              <a:t>Confidentiality Notice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2034C74-784A-4B74-9349-9438F05BC9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52450" y="2925000"/>
            <a:ext cx="11087550" cy="1512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8800" b="1" kern="1200" cap="all" baseline="0">
                <a:solidFill>
                  <a:schemeClr val="tx1"/>
                </a:solidFill>
                <a:latin typeface="+mj-lt"/>
                <a:ea typeface="+mj-ea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000" b="0" cap="none">
                <a:solidFill>
                  <a:srgbClr val="A70532"/>
                </a:solidFill>
                <a:latin typeface="+mn-lt"/>
              </a:rPr>
              <a:t>This document contains confidential information which is legally privileged.</a:t>
            </a:r>
          </a:p>
          <a:p>
            <a:pPr>
              <a:lnSpc>
                <a:spcPct val="100000"/>
              </a:lnSpc>
            </a:pPr>
            <a:r>
              <a:rPr lang="en-US" sz="2000" b="0" cap="none">
                <a:solidFill>
                  <a:srgbClr val="A70532"/>
                </a:solidFill>
                <a:latin typeface="+mn-lt"/>
              </a:rPr>
              <a:t>The information is proprietary to Beiersdorf AG. Any disclosure, use, copying or distribution</a:t>
            </a:r>
            <a:br>
              <a:rPr lang="en-US" sz="2000" b="0" cap="none">
                <a:solidFill>
                  <a:srgbClr val="A70532"/>
                </a:solidFill>
                <a:latin typeface="+mn-lt"/>
              </a:rPr>
            </a:br>
            <a:r>
              <a:rPr lang="en-US" sz="2000" b="0" cap="none">
                <a:solidFill>
                  <a:srgbClr val="A70532"/>
                </a:solidFill>
                <a:latin typeface="+mn-lt"/>
              </a:rPr>
              <a:t>of the contents of this document, in whole or part, is strictly prohibited without the written permission of Beiersdorf AG.</a:t>
            </a:r>
          </a:p>
        </p:txBody>
      </p:sp>
    </p:spTree>
    <p:extLst>
      <p:ext uri="{BB962C8B-B14F-4D97-AF65-F5344CB8AC3E}">
        <p14:creationId xmlns:p14="http://schemas.microsoft.com/office/powerpoint/2010/main" val="31948366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 with Keyfac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CC4F6E3-7E19-47A9-AED1-9B1AF36482A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lang="en-GB" sz="1100" i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671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982909" y="3501008"/>
            <a:ext cx="4681043" cy="1656000"/>
          </a:xfrm>
        </p:spPr>
        <p:txBody>
          <a:bodyPr wrap="square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600" cap="all" baseline="0"/>
            </a:lvl1pPr>
          </a:lstStyle>
          <a:p>
            <a:r>
              <a:rPr lang="en-US" noProof="0"/>
              <a:t>Edit here</a:t>
            </a:r>
            <a:br>
              <a:rPr lang="en-US" noProof="0"/>
            </a:br>
            <a:r>
              <a:rPr lang="en-US" noProof="0"/>
              <a:t>text max.</a:t>
            </a:r>
            <a:br>
              <a:rPr lang="en-US" noProof="0"/>
            </a:br>
            <a:r>
              <a:rPr lang="en-US" noProof="0"/>
              <a:t>4 lines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1055E45-5739-4D6A-A8EA-A8996E19E56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0766478" y="6456530"/>
            <a:ext cx="874800" cy="143370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7100F2B5-5EA0-4808-852D-22CAA7A8183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055441" y="6453352"/>
            <a:ext cx="3815942" cy="144000"/>
          </a:xfrm>
        </p:spPr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9D8D78D2-3114-4C1B-91A6-F2285CCE15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1384" y="6453352"/>
            <a:ext cx="504056" cy="144000"/>
          </a:xfrm>
        </p:spPr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47CC5BE9-3B37-E6FF-E5F5-DC094971F5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290565" y="404813"/>
            <a:ext cx="354913" cy="293047"/>
          </a:xfrm>
          <a:blipFill>
            <a:blip r:embed="rId7"/>
            <a:srcRect/>
            <a:stretch>
              <a:fillRect l="-632" r="-632"/>
            </a:stretch>
          </a:blipFill>
        </p:spPr>
        <p:txBody>
          <a:bodyPr/>
          <a:lstStyle>
            <a:lvl1pPr marL="0">
              <a:buFontTx/>
              <a:buNone/>
              <a:defRPr>
                <a:noFill/>
              </a:defRPr>
            </a:lvl1pPr>
            <a:lvl2pPr marL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349480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 with Keyfac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CC4F6E3-7E19-47A9-AED1-9B1AF36482A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lang="en-GB" sz="1100" i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0748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982910" y="3501008"/>
            <a:ext cx="4680000" cy="1656000"/>
          </a:xfrm>
        </p:spPr>
        <p:txBody>
          <a:bodyPr wrap="square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Edit here</a:t>
            </a:r>
            <a:br>
              <a:rPr lang="en-US" noProof="0"/>
            </a:br>
            <a:r>
              <a:rPr lang="en-US" noProof="0"/>
              <a:t>text max.</a:t>
            </a:r>
            <a:br>
              <a:rPr lang="en-US" noProof="0"/>
            </a:br>
            <a:r>
              <a:rPr lang="en-US" noProof="0"/>
              <a:t>4 lines</a:t>
            </a:r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513D2D51-418E-482C-8EE6-CC4EF123D8C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10766478" y="6455900"/>
            <a:ext cx="874800" cy="144000"/>
          </a:xfrm>
          <a:prstGeom prst="rect">
            <a:avLst/>
          </a:prstGeom>
          <a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 contras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C715AD99-957A-4F7A-A4D2-1A0F296BD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055441" y="6453352"/>
            <a:ext cx="3815942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6. Anwendertreffen - Keynote ITO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FF167947-E3E9-42EE-B2D2-13627334CE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1384" y="6453352"/>
            <a:ext cx="504056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9A0A4829-0618-AAF0-CBDA-5EE7024DC7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290565" y="404813"/>
            <a:ext cx="354913" cy="293047"/>
          </a:xfrm>
          <a:blipFill>
            <a:blip r:embed="rId8"/>
            <a:srcRect/>
            <a:stretch>
              <a:fillRect l="-632" r="-632"/>
            </a:stretch>
          </a:blipFill>
        </p:spPr>
        <p:txBody>
          <a:bodyPr/>
          <a:lstStyle>
            <a:lvl1pPr marL="0">
              <a:buFontTx/>
              <a:buNone/>
              <a:defRPr>
                <a:noFill/>
              </a:defRPr>
            </a:lvl1pPr>
            <a:lvl2pPr marL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682255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with Full Im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CC4F6E3-7E19-47A9-AED1-9B1AF36482A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lang="en-GB" sz="1100" i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4865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50862" y="1011600"/>
            <a:ext cx="5688000" cy="1296000"/>
          </a:xfrm>
        </p:spPr>
        <p:txBody>
          <a:bodyPr wrap="square" anchor="t" anchorCtr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sz="11500" cap="all" baseline="0"/>
            </a:lvl1pPr>
          </a:lstStyle>
          <a:p>
            <a:r>
              <a:rPr lang="en-US" noProof="0"/>
              <a:t>Thank You 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1055E45-5739-4D6A-A8EA-A8996E19E56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550862" y="5431288"/>
            <a:ext cx="3600000" cy="590000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5D563CD5-5689-156D-091F-61E36A90EE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290565" y="404813"/>
            <a:ext cx="354913" cy="293047"/>
          </a:xfrm>
          <a:blipFill>
            <a:blip r:embed="rId7"/>
            <a:srcRect/>
            <a:stretch>
              <a:fillRect l="-632" r="-632"/>
            </a:stretch>
          </a:blipFill>
        </p:spPr>
        <p:txBody>
          <a:bodyPr/>
          <a:lstStyle>
            <a:lvl1pPr marL="0">
              <a:buFontTx/>
              <a:buNone/>
              <a:defRPr>
                <a:noFill/>
              </a:defRPr>
            </a:lvl1pPr>
            <a:lvl2pPr marL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67896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with Full Im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CC4F6E3-7E19-47A9-AED1-9B1AF36482A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 algn="ctr">
              <a:defRPr sz="1100" i="1">
                <a:solidFill>
                  <a:schemeClr val="bg2"/>
                </a:solidFill>
              </a:defRPr>
            </a:lvl1pPr>
          </a:lstStyle>
          <a:p>
            <a:r>
              <a:rPr lang="en-US"/>
              <a:t>Add image by clicking on symbol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373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1055E45-5739-4D6A-A8EA-A8996E19E56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550862" y="5431287"/>
            <a:ext cx="3600000" cy="590001"/>
          </a:xfrm>
          <a:prstGeom prst="rect">
            <a:avLst/>
          </a:prstGeom>
          <a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 contras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35BA2B71-95AC-4704-AD78-E8A630A7E2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0862" y="1009756"/>
            <a:ext cx="5688000" cy="1296000"/>
          </a:xfrm>
        </p:spPr>
        <p:txBody>
          <a:bodyPr wrap="square" anchor="t" anchorCtr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sz="115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hank You 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61BD0DD3-D1D2-0E48-B757-E1456683B7F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290565" y="404813"/>
            <a:ext cx="354913" cy="293047"/>
          </a:xfrm>
          <a:blipFill>
            <a:blip r:embed="rId8"/>
            <a:srcRect/>
            <a:stretch>
              <a:fillRect l="-632" r="-632"/>
            </a:stretch>
          </a:blipFill>
        </p:spPr>
        <p:txBody>
          <a:bodyPr/>
          <a:lstStyle>
            <a:lvl1pPr marL="0">
              <a:buFontTx/>
              <a:buNone/>
              <a:defRPr>
                <a:noFill/>
              </a:defRPr>
            </a:lvl1pPr>
            <a:lvl2pPr marL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9172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7 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1014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291B299-D199-4CA9-B817-C13CE01037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5386" y="2440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8EB38F61-AF11-419C-B019-698319E50A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52450" y="2406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AC044CAB-47D9-4676-8EB3-41844A65DA5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52449" y="2982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9" name="Textplatzhalter 4">
            <a:extLst>
              <a:ext uri="{FF2B5EF4-FFF2-40B4-BE49-F238E27FC236}">
                <a16:creationId xmlns:a16="http://schemas.microsoft.com/office/drawing/2014/main" id="{28C372A7-3AFE-48F4-A151-7C6801D99E8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984937" y="3448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50" name="Textplatzhalter 4">
            <a:extLst>
              <a:ext uri="{FF2B5EF4-FFF2-40B4-BE49-F238E27FC236}">
                <a16:creationId xmlns:a16="http://schemas.microsoft.com/office/drawing/2014/main" id="{C6540DB2-8FD3-469A-BAF8-B3A486D530E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52001" y="3414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1" name="Textplatzhalter 4">
            <a:extLst>
              <a:ext uri="{FF2B5EF4-FFF2-40B4-BE49-F238E27FC236}">
                <a16:creationId xmlns:a16="http://schemas.microsoft.com/office/drawing/2014/main" id="{309EAF06-AF72-4D69-88AB-FD8C1D4DD3E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52000" y="3990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2" name="Textplatzhalter 4">
            <a:extLst>
              <a:ext uri="{FF2B5EF4-FFF2-40B4-BE49-F238E27FC236}">
                <a16:creationId xmlns:a16="http://schemas.microsoft.com/office/drawing/2014/main" id="{98F6398F-20EB-462E-963E-D91E0120BFB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984937" y="4456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BCCE11A9-B207-406F-BB02-C14D64FFD8F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552001" y="4422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54" name="Textplatzhalter 4">
            <a:extLst>
              <a:ext uri="{FF2B5EF4-FFF2-40B4-BE49-F238E27FC236}">
                <a16:creationId xmlns:a16="http://schemas.microsoft.com/office/drawing/2014/main" id="{824F28E5-7DA4-4A0E-826E-9B7912317A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552000" y="4998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5" name="Textplatzhalter 4">
            <a:extLst>
              <a:ext uri="{FF2B5EF4-FFF2-40B4-BE49-F238E27FC236}">
                <a16:creationId xmlns:a16="http://schemas.microsoft.com/office/drawing/2014/main" id="{8A196124-5F10-4176-B767-05FC6C4DD5F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984937" y="5464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56" name="Textplatzhalter 4">
            <a:extLst>
              <a:ext uri="{FF2B5EF4-FFF2-40B4-BE49-F238E27FC236}">
                <a16:creationId xmlns:a16="http://schemas.microsoft.com/office/drawing/2014/main" id="{5DA0D622-245D-4F7B-A442-772500EFA8C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52001" y="5430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57" name="Textplatzhalter 4">
            <a:extLst>
              <a:ext uri="{FF2B5EF4-FFF2-40B4-BE49-F238E27FC236}">
                <a16:creationId xmlns:a16="http://schemas.microsoft.com/office/drawing/2014/main" id="{A8B3EEE9-55FD-4949-B877-B9AC153BCF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52000" y="6006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1" name="Textplatzhalter 4">
            <a:extLst>
              <a:ext uri="{FF2B5EF4-FFF2-40B4-BE49-F238E27FC236}">
                <a16:creationId xmlns:a16="http://schemas.microsoft.com/office/drawing/2014/main" id="{926F9F87-D248-4B13-888D-8D25192DDF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673887" y="2440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62" name="Textplatzhalter 4">
            <a:extLst>
              <a:ext uri="{FF2B5EF4-FFF2-40B4-BE49-F238E27FC236}">
                <a16:creationId xmlns:a16="http://schemas.microsoft.com/office/drawing/2014/main" id="{BC1CB5E6-A34B-4FB9-AA4B-1CE7062C2B0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40951" y="2406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3" name="Textplatzhalter 4">
            <a:extLst>
              <a:ext uri="{FF2B5EF4-FFF2-40B4-BE49-F238E27FC236}">
                <a16:creationId xmlns:a16="http://schemas.microsoft.com/office/drawing/2014/main" id="{46371052-11F8-41BC-BD00-685EA90AC0F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240950" y="2982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4" name="Textplatzhalter 4">
            <a:extLst>
              <a:ext uri="{FF2B5EF4-FFF2-40B4-BE49-F238E27FC236}">
                <a16:creationId xmlns:a16="http://schemas.microsoft.com/office/drawing/2014/main" id="{D20A0EA3-972F-44BC-919B-EF22D5ACEB0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673412" y="3448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65" name="Textplatzhalter 4">
            <a:extLst>
              <a:ext uri="{FF2B5EF4-FFF2-40B4-BE49-F238E27FC236}">
                <a16:creationId xmlns:a16="http://schemas.microsoft.com/office/drawing/2014/main" id="{F805CD67-0F09-4557-9367-F3BB2DAF16F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240476" y="3414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66" name="Textplatzhalter 4">
            <a:extLst>
              <a:ext uri="{FF2B5EF4-FFF2-40B4-BE49-F238E27FC236}">
                <a16:creationId xmlns:a16="http://schemas.microsoft.com/office/drawing/2014/main" id="{AF83AE91-6476-44FA-80DA-5AA8F371596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240475" y="3990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7" name="Textplatzhalter 4">
            <a:extLst>
              <a:ext uri="{FF2B5EF4-FFF2-40B4-BE49-F238E27FC236}">
                <a16:creationId xmlns:a16="http://schemas.microsoft.com/office/drawing/2014/main" id="{A438B0A7-C7D9-4100-B7C5-F06DDC2FED5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672937" y="4456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68" name="Textplatzhalter 4">
            <a:extLst>
              <a:ext uri="{FF2B5EF4-FFF2-40B4-BE49-F238E27FC236}">
                <a16:creationId xmlns:a16="http://schemas.microsoft.com/office/drawing/2014/main" id="{4A740B08-8286-477A-A603-85B4ADF8FE2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6240001" y="4422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69" name="Textplatzhalter 4">
            <a:extLst>
              <a:ext uri="{FF2B5EF4-FFF2-40B4-BE49-F238E27FC236}">
                <a16:creationId xmlns:a16="http://schemas.microsoft.com/office/drawing/2014/main" id="{2DE50051-74D4-439B-BE79-4871B6FE7CE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6240000" y="4998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itel 4">
            <a:extLst>
              <a:ext uri="{FF2B5EF4-FFF2-40B4-BE49-F238E27FC236}">
                <a16:creationId xmlns:a16="http://schemas.microsoft.com/office/drawing/2014/main" id="{B7E81154-94EB-4FD3-86BF-A0BE143C6D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764812"/>
            <a:ext cx="8640000" cy="432187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36" name="Textplatzhalter 5">
            <a:extLst>
              <a:ext uri="{FF2B5EF4-FFF2-40B4-BE49-F238E27FC236}">
                <a16:creationId xmlns:a16="http://schemas.microsoft.com/office/drawing/2014/main" id="{74402A23-FF00-4ECF-9679-90D19A3C84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1384" y="548813"/>
            <a:ext cx="8640000" cy="2160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defRPr sz="1400" cap="all" spc="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2pPr>
            <a:lvl3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3pPr>
            <a:lvl4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4pPr>
            <a:lvl5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5pPr>
            <a:lvl6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6pPr>
            <a:lvl7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7pPr>
            <a:lvl8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8pPr>
            <a:lvl9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Edit title master format by clicking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BBC4B527-8AC8-E2E7-1BE8-C5E85833EC8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6672937" y="5464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0B2E054D-6576-75D9-1757-C01E8312238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6240001" y="5430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8</a:t>
            </a: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C0E1EC53-016C-0D55-8FDB-4B3B26D43F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6240000" y="6006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17529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339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EFA26D4E-C1E8-4DB9-96FB-5DF2FB106A9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453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ED00329B-A6AF-4E70-8158-3764BBE15B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268000" y="2781000"/>
            <a:ext cx="6120000" cy="1656000"/>
          </a:xfrm>
        </p:spPr>
        <p:txBody>
          <a:bodyPr wrap="square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500" cap="all" baseline="0"/>
            </a:lvl1pPr>
          </a:lstStyle>
          <a:p>
            <a:r>
              <a:rPr lang="en-US" noProof="0"/>
              <a:t>Thank You </a:t>
            </a:r>
            <a:br>
              <a:rPr lang="en-US" noProof="0"/>
            </a:br>
            <a:r>
              <a:rPr lang="en-US" noProof="0"/>
              <a:t>MAX. 2 lines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AD44C69-F5BE-4781-9E84-27F85F19CA7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5268000" y="5428346"/>
            <a:ext cx="3600000" cy="592942"/>
          </a:xfrm>
          <a:prstGeom prst="rect">
            <a:avLst/>
          </a:prstGeom>
        </p:spPr>
      </p:pic>
      <p:pic>
        <p:nvPicPr>
          <p:cNvPr id="2" name="Grafik 1" descr="Ein Bild, das Logo, Grafiken, Grafikdesign, Schrift enthält.&#10;&#10;Automatisch generierte Beschreibung">
            <a:extLst>
              <a:ext uri="{FF2B5EF4-FFF2-40B4-BE49-F238E27FC236}">
                <a16:creationId xmlns:a16="http://schemas.microsoft.com/office/drawing/2014/main" id="{1B063C2B-C6F6-363E-4E0E-900B91488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2916" t="26909" r="12916" b="30051"/>
          <a:stretch/>
        </p:blipFill>
        <p:spPr bwMode="gray">
          <a:xfrm>
            <a:off x="5268000" y="385537"/>
            <a:ext cx="393700" cy="322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4405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with Full Image Blue +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CC4F6E3-7E19-47A9-AED1-9B1AF36482A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</p:spPr>
        <p:txBody>
          <a:bodyPr wrap="square" bIns="936000" anchor="ctr" anchorCtr="0">
            <a:noAutofit/>
          </a:bodyPr>
          <a:lstStyle>
            <a:lvl1pPr algn="ctr">
              <a:defRPr sz="1100" i="1">
                <a:solidFill>
                  <a:schemeClr val="bg2"/>
                </a:solidFill>
              </a:defRPr>
            </a:lvl1pPr>
          </a:lstStyle>
          <a:p>
            <a:r>
              <a:rPr lang="en-US"/>
              <a:t>Add image</a:t>
            </a:r>
            <a:br>
              <a:rPr lang="en-US"/>
            </a:br>
            <a:r>
              <a:rPr lang="en-US"/>
              <a:t>by clicking on symbol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4069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3287688" y="1556928"/>
            <a:ext cx="8351862" cy="1224000"/>
          </a:xfrm>
        </p:spPr>
        <p:txBody>
          <a:bodyPr wrap="square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115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16" name="Textplatzhalter 15"/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550862" y="5434176"/>
            <a:ext cx="6120000" cy="288000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9pPr>
          </a:lstStyle>
          <a:p>
            <a:pPr lvl="0"/>
            <a:r>
              <a:rPr lang="en-US" noProof="0"/>
              <a:t>Edit subtitle by clicking</a:t>
            </a:r>
            <a:endParaRPr lang="en-US"/>
          </a:p>
        </p:txBody>
      </p:sp>
      <p:sp>
        <p:nvSpPr>
          <p:cNvPr id="18" name="Textplatzhalter 17"/>
          <p:cNvSpPr>
            <a:spLocks noGrp="1"/>
          </p:cNvSpPr>
          <p:nvPr userDrawn="1">
            <p:ph type="body" sz="quarter" idx="11" hasCustomPrompt="1"/>
          </p:nvPr>
        </p:nvSpPr>
        <p:spPr bwMode="gray">
          <a:xfrm>
            <a:off x="550862" y="5733288"/>
            <a:ext cx="6120000" cy="288000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cs typeface="Segoe UI Semilight" panose="020B0402040204020203" pitchFamily="34" charset="0"/>
              </a:defRPr>
            </a:lvl9pPr>
          </a:lstStyle>
          <a:p>
            <a:pPr lvl="0"/>
            <a:r>
              <a:rPr lang="en-US" noProof="0"/>
              <a:t>Name Speaker</a:t>
            </a:r>
          </a:p>
        </p:txBody>
      </p:sp>
      <p:sp>
        <p:nvSpPr>
          <p:cNvPr id="9" name="Bildplatzhalter 5">
            <a:extLst>
              <a:ext uri="{FF2B5EF4-FFF2-40B4-BE49-F238E27FC236}">
                <a16:creationId xmlns:a16="http://schemas.microsoft.com/office/drawing/2014/main" id="{D5D53BB0-89C7-4B71-A2BD-FE9F1F9A9541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550862" y="4581128"/>
            <a:ext cx="3600000" cy="590001"/>
          </a:xfrm>
          <a:prstGeom prst="rect">
            <a:avLst/>
          </a:prstGeom>
          <a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 contras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25DB954-662B-4EF4-8C52-FE7346645D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287688" y="476808"/>
            <a:ext cx="8351862" cy="1224000"/>
          </a:xfrm>
        </p:spPr>
        <p:txBody>
          <a:bodyPr anchor="b">
            <a:normAutofit/>
          </a:bodyPr>
          <a:lstStyle>
            <a:lvl1pPr algn="r">
              <a:defRPr sz="7000"/>
            </a:lvl1pPr>
            <a:lvl2pPr marL="0" indent="0" algn="r">
              <a:buFont typeface="Arial" panose="020B0604020202020204" pitchFamily="34" charset="0"/>
              <a:buNone/>
              <a:defRPr sz="7000" b="1" cap="none">
                <a:solidFill>
                  <a:schemeClr val="tx1"/>
                </a:solidFill>
                <a:latin typeface="+mj-lt"/>
              </a:defRPr>
            </a:lvl2pPr>
            <a:lvl3pPr marL="0" indent="0" algn="r">
              <a:buNone/>
              <a:defRPr sz="7000" b="1" cap="none">
                <a:solidFill>
                  <a:schemeClr val="tx1"/>
                </a:solidFill>
                <a:latin typeface="+mj-lt"/>
              </a:defRPr>
            </a:lvl3pPr>
            <a:lvl4pPr marL="0" indent="0" algn="r">
              <a:buNone/>
              <a:defRPr sz="7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buNone/>
              <a:defRPr sz="7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buNone/>
              <a:defRPr sz="7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buNone/>
              <a:defRPr sz="7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buNone/>
              <a:defRPr sz="7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buNone/>
              <a:defRPr sz="7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PRESENTATION</a:t>
            </a: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4EF62A95-1C85-FD57-28FD-FA5B2EBD32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290565" y="404813"/>
            <a:ext cx="354913" cy="293047"/>
          </a:xfrm>
          <a:blipFill>
            <a:blip r:embed="rId8"/>
            <a:srcRect/>
            <a:stretch>
              <a:fillRect l="-632" r="-632"/>
            </a:stretch>
          </a:blipFill>
        </p:spPr>
        <p:txBody>
          <a:bodyPr/>
          <a:lstStyle>
            <a:lvl1pPr marL="0">
              <a:buFontTx/>
              <a:buNone/>
              <a:defRPr>
                <a:noFill/>
              </a:defRPr>
            </a:lvl1pPr>
            <a:lvl2pPr marL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331083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0096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29AC7B55-6F5B-4629-95DA-D940CF6CA5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268000" y="2781000"/>
            <a:ext cx="6120000" cy="1224000"/>
          </a:xfrm>
        </p:spPr>
        <p:txBody>
          <a:bodyPr wrap="square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00" cap="all" baseline="0"/>
            </a:lvl1pPr>
          </a:lstStyle>
          <a:p>
            <a:r>
              <a:rPr lang="en-US" noProof="0"/>
              <a:t>PRESENTATION </a:t>
            </a:r>
            <a:br>
              <a:rPr lang="en-US" noProof="0"/>
            </a:br>
            <a:r>
              <a:rPr lang="en-US" noProof="0"/>
              <a:t>TITLE MAX. 2 lines.</a:t>
            </a:r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id="{6482CC3A-4DFB-4DAB-85DE-10FEAA74D2B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268000" y="4221000"/>
            <a:ext cx="6120000" cy="288000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9pPr>
          </a:lstStyle>
          <a:p>
            <a:pPr lvl="0"/>
            <a:r>
              <a:rPr lang="en-US" noProof="0"/>
              <a:t>Edit subtitle by clicking</a:t>
            </a:r>
          </a:p>
        </p:txBody>
      </p:sp>
      <p:sp>
        <p:nvSpPr>
          <p:cNvPr id="15" name="Textplatzhalter 17">
            <a:extLst>
              <a:ext uri="{FF2B5EF4-FFF2-40B4-BE49-F238E27FC236}">
                <a16:creationId xmlns:a16="http://schemas.microsoft.com/office/drawing/2014/main" id="{11850B7A-541F-4925-A176-6D903FC85A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268000" y="4520112"/>
            <a:ext cx="6120000" cy="288000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defRPr>
            </a:lvl9pPr>
          </a:lstStyle>
          <a:p>
            <a:pPr lvl="0"/>
            <a:r>
              <a:rPr lang="en-US" noProof="0"/>
              <a:t>Name Speaker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EFA26D4E-C1E8-4DB9-96FB-5DF2FB106A9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453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3AA2F12-F3C7-4FF8-88FF-4C8178EA7C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5268000" y="5428346"/>
            <a:ext cx="3600000" cy="592942"/>
          </a:xfrm>
          <a:prstGeom prst="rect">
            <a:avLst/>
          </a:prstGeom>
        </p:spPr>
      </p:pic>
      <p:pic>
        <p:nvPicPr>
          <p:cNvPr id="2" name="Grafik 1" descr="Ein Bild, das Logo, Grafiken, Grafikdesign, Schrift enthält.&#10;&#10;Automatisch generierte Beschreibung">
            <a:extLst>
              <a:ext uri="{FF2B5EF4-FFF2-40B4-BE49-F238E27FC236}">
                <a16:creationId xmlns:a16="http://schemas.microsoft.com/office/drawing/2014/main" id="{ABFF3642-3604-ECC8-4A43-6DB529DFDF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2916" t="26909" r="12916" b="30051"/>
          <a:stretch/>
        </p:blipFill>
        <p:spPr bwMode="gray">
          <a:xfrm>
            <a:off x="5268000" y="385537"/>
            <a:ext cx="393700" cy="322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5067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7 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842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291B299-D199-4CA9-B817-C13CE01037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5386" y="2440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8EB38F61-AF11-419C-B019-698319E50A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52450" y="2406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AC044CAB-47D9-4676-8EB3-41844A65DA5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52449" y="2982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9" name="Textplatzhalter 4">
            <a:extLst>
              <a:ext uri="{FF2B5EF4-FFF2-40B4-BE49-F238E27FC236}">
                <a16:creationId xmlns:a16="http://schemas.microsoft.com/office/drawing/2014/main" id="{28C372A7-3AFE-48F4-A151-7C6801D99E8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984937" y="3448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50" name="Textplatzhalter 4">
            <a:extLst>
              <a:ext uri="{FF2B5EF4-FFF2-40B4-BE49-F238E27FC236}">
                <a16:creationId xmlns:a16="http://schemas.microsoft.com/office/drawing/2014/main" id="{C6540DB2-8FD3-469A-BAF8-B3A486D530E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52001" y="3414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1" name="Textplatzhalter 4">
            <a:extLst>
              <a:ext uri="{FF2B5EF4-FFF2-40B4-BE49-F238E27FC236}">
                <a16:creationId xmlns:a16="http://schemas.microsoft.com/office/drawing/2014/main" id="{309EAF06-AF72-4D69-88AB-FD8C1D4DD3E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52000" y="3990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2" name="Textplatzhalter 4">
            <a:extLst>
              <a:ext uri="{FF2B5EF4-FFF2-40B4-BE49-F238E27FC236}">
                <a16:creationId xmlns:a16="http://schemas.microsoft.com/office/drawing/2014/main" id="{98F6398F-20EB-462E-963E-D91E0120BFB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984937" y="4456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BCCE11A9-B207-406F-BB02-C14D64FFD8F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552001" y="4422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54" name="Textplatzhalter 4">
            <a:extLst>
              <a:ext uri="{FF2B5EF4-FFF2-40B4-BE49-F238E27FC236}">
                <a16:creationId xmlns:a16="http://schemas.microsoft.com/office/drawing/2014/main" id="{824F28E5-7DA4-4A0E-826E-9B7912317A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552000" y="4998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5" name="Textplatzhalter 4">
            <a:extLst>
              <a:ext uri="{FF2B5EF4-FFF2-40B4-BE49-F238E27FC236}">
                <a16:creationId xmlns:a16="http://schemas.microsoft.com/office/drawing/2014/main" id="{8A196124-5F10-4176-B767-05FC6C4DD5F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984937" y="5464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56" name="Textplatzhalter 4">
            <a:extLst>
              <a:ext uri="{FF2B5EF4-FFF2-40B4-BE49-F238E27FC236}">
                <a16:creationId xmlns:a16="http://schemas.microsoft.com/office/drawing/2014/main" id="{5DA0D622-245D-4F7B-A442-772500EFA8C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52001" y="5430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57" name="Textplatzhalter 4">
            <a:extLst>
              <a:ext uri="{FF2B5EF4-FFF2-40B4-BE49-F238E27FC236}">
                <a16:creationId xmlns:a16="http://schemas.microsoft.com/office/drawing/2014/main" id="{A8B3EEE9-55FD-4949-B877-B9AC153BCF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52000" y="6006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1" name="Textplatzhalter 4">
            <a:extLst>
              <a:ext uri="{FF2B5EF4-FFF2-40B4-BE49-F238E27FC236}">
                <a16:creationId xmlns:a16="http://schemas.microsoft.com/office/drawing/2014/main" id="{926F9F87-D248-4B13-888D-8D25192DDF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673887" y="2440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62" name="Textplatzhalter 4">
            <a:extLst>
              <a:ext uri="{FF2B5EF4-FFF2-40B4-BE49-F238E27FC236}">
                <a16:creationId xmlns:a16="http://schemas.microsoft.com/office/drawing/2014/main" id="{BC1CB5E6-A34B-4FB9-AA4B-1CE7062C2B0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40951" y="2406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63" name="Textplatzhalter 4">
            <a:extLst>
              <a:ext uri="{FF2B5EF4-FFF2-40B4-BE49-F238E27FC236}">
                <a16:creationId xmlns:a16="http://schemas.microsoft.com/office/drawing/2014/main" id="{46371052-11F8-41BC-BD00-685EA90AC0F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240950" y="2982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4" name="Textplatzhalter 4">
            <a:extLst>
              <a:ext uri="{FF2B5EF4-FFF2-40B4-BE49-F238E27FC236}">
                <a16:creationId xmlns:a16="http://schemas.microsoft.com/office/drawing/2014/main" id="{D20A0EA3-972F-44BC-919B-EF22D5ACEB0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673412" y="3448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65" name="Textplatzhalter 4">
            <a:extLst>
              <a:ext uri="{FF2B5EF4-FFF2-40B4-BE49-F238E27FC236}">
                <a16:creationId xmlns:a16="http://schemas.microsoft.com/office/drawing/2014/main" id="{F805CD67-0F09-4557-9367-F3BB2DAF16F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240476" y="3414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66" name="Textplatzhalter 4">
            <a:extLst>
              <a:ext uri="{FF2B5EF4-FFF2-40B4-BE49-F238E27FC236}">
                <a16:creationId xmlns:a16="http://schemas.microsoft.com/office/drawing/2014/main" id="{AF83AE91-6476-44FA-80DA-5AA8F371596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240475" y="3990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67" name="Textplatzhalter 4">
            <a:extLst>
              <a:ext uri="{FF2B5EF4-FFF2-40B4-BE49-F238E27FC236}">
                <a16:creationId xmlns:a16="http://schemas.microsoft.com/office/drawing/2014/main" id="{A438B0A7-C7D9-4100-B7C5-F06DDC2FED5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672937" y="4456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68" name="Textplatzhalter 4">
            <a:extLst>
              <a:ext uri="{FF2B5EF4-FFF2-40B4-BE49-F238E27FC236}">
                <a16:creationId xmlns:a16="http://schemas.microsoft.com/office/drawing/2014/main" id="{4A740B08-8286-477A-A603-85B4ADF8FE2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6240001" y="4422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69" name="Textplatzhalter 4">
            <a:extLst>
              <a:ext uri="{FF2B5EF4-FFF2-40B4-BE49-F238E27FC236}">
                <a16:creationId xmlns:a16="http://schemas.microsoft.com/office/drawing/2014/main" id="{2DE50051-74D4-439B-BE79-4871B6FE7CE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6240000" y="4998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5" name="Titel 4">
            <a:extLst>
              <a:ext uri="{FF2B5EF4-FFF2-40B4-BE49-F238E27FC236}">
                <a16:creationId xmlns:a16="http://schemas.microsoft.com/office/drawing/2014/main" id="{B7E81154-94EB-4FD3-86BF-A0BE143C6D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764812"/>
            <a:ext cx="8640000" cy="432187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36" name="Textplatzhalter 5">
            <a:extLst>
              <a:ext uri="{FF2B5EF4-FFF2-40B4-BE49-F238E27FC236}">
                <a16:creationId xmlns:a16="http://schemas.microsoft.com/office/drawing/2014/main" id="{74402A23-FF00-4ECF-9679-90D19A3C84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1384" y="548813"/>
            <a:ext cx="8640000" cy="2160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defRPr sz="1400" cap="all" spc="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2pPr>
            <a:lvl3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3pPr>
            <a:lvl4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4pPr>
            <a:lvl5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5pPr>
            <a:lvl6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6pPr>
            <a:lvl7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7pPr>
            <a:lvl8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8pPr>
            <a:lvl9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Edit title master format by clicking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BBC4B527-8AC8-E2E7-1BE8-C5E85833EC8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6672937" y="5464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0B2E054D-6576-75D9-1757-C01E8312238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6240001" y="5430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8</a:t>
            </a: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C0E1EC53-016C-0D55-8FDB-4B3B26D43FA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6240000" y="6006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93230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4 Chapter +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59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EFA26D4E-C1E8-4DB9-96FB-5DF2FB106A9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720000" y="0"/>
            <a:ext cx="547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74BB64F4-532A-4409-8710-36B5B33248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5386" y="2440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05AB08CF-3847-4609-996D-0E28B0C2CA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52450" y="2406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32AA23AF-2E70-4409-B909-FB497AC001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52449" y="2982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Textplatzhalter 4">
            <a:extLst>
              <a:ext uri="{FF2B5EF4-FFF2-40B4-BE49-F238E27FC236}">
                <a16:creationId xmlns:a16="http://schemas.microsoft.com/office/drawing/2014/main" id="{E872D266-4367-468F-9D7C-2765218957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984937" y="3448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F3DBFD61-763F-4BA5-81FA-37E4699DFE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52001" y="3414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5" name="Textplatzhalter 4">
            <a:extLst>
              <a:ext uri="{FF2B5EF4-FFF2-40B4-BE49-F238E27FC236}">
                <a16:creationId xmlns:a16="http://schemas.microsoft.com/office/drawing/2014/main" id="{9F8E0909-D01B-492A-92C7-9506FF3C22E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52000" y="3990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6" name="Textplatzhalter 4">
            <a:extLst>
              <a:ext uri="{FF2B5EF4-FFF2-40B4-BE49-F238E27FC236}">
                <a16:creationId xmlns:a16="http://schemas.microsoft.com/office/drawing/2014/main" id="{262D01EA-0109-4DCA-84FA-59F770671A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984937" y="4456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ABC75F87-A168-430A-A0EC-66C08F2296F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552001" y="4422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6DE44ECC-8FA7-45FD-A171-4377A9A7C92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552000" y="4998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9" name="Textplatzhalter 4">
            <a:extLst>
              <a:ext uri="{FF2B5EF4-FFF2-40B4-BE49-F238E27FC236}">
                <a16:creationId xmlns:a16="http://schemas.microsoft.com/office/drawing/2014/main" id="{EEFBB5EB-D3DE-41A1-8DBD-C9C7409D448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984937" y="5464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50" name="Textplatzhalter 4">
            <a:extLst>
              <a:ext uri="{FF2B5EF4-FFF2-40B4-BE49-F238E27FC236}">
                <a16:creationId xmlns:a16="http://schemas.microsoft.com/office/drawing/2014/main" id="{6EEE9B72-3254-46CF-B71C-F11D8BF4959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52001" y="5430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51" name="Textplatzhalter 4">
            <a:extLst>
              <a:ext uri="{FF2B5EF4-FFF2-40B4-BE49-F238E27FC236}">
                <a16:creationId xmlns:a16="http://schemas.microsoft.com/office/drawing/2014/main" id="{663A658C-887E-49D0-B1B0-1FD943A914A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52000" y="6006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8" name="Titel 4">
            <a:extLst>
              <a:ext uri="{FF2B5EF4-FFF2-40B4-BE49-F238E27FC236}">
                <a16:creationId xmlns:a16="http://schemas.microsoft.com/office/drawing/2014/main" id="{8AD99237-4298-4A2B-B39F-42D42E722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764812"/>
            <a:ext cx="5400000" cy="432187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CC349C3F-BA0B-46C4-88B7-2AF58CE411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1384" y="548813"/>
            <a:ext cx="5400000" cy="2160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defRPr sz="1400" cap="all" spc="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2pPr>
            <a:lvl3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3pPr>
            <a:lvl4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4pPr>
            <a:lvl5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5pPr>
            <a:lvl6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6pPr>
            <a:lvl7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7pPr>
            <a:lvl8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8pPr>
            <a:lvl9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Edit title master format by clicking</a:t>
            </a:r>
          </a:p>
        </p:txBody>
      </p:sp>
    </p:spTree>
    <p:extLst>
      <p:ext uri="{BB962C8B-B14F-4D97-AF65-F5344CB8AC3E}">
        <p14:creationId xmlns:p14="http://schemas.microsoft.com/office/powerpoint/2010/main" val="1992128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573FEEDE-B5F7-474B-A522-6D25B7EA96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36000" y="2169000"/>
            <a:ext cx="6120000" cy="2520000"/>
          </a:xfrm>
        </p:spPr>
        <p:txBody>
          <a:bodyPr wrap="square" anchor="ctr" anchorCtr="0">
            <a:no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8800" cap="all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</a:t>
            </a:r>
            <a:br>
              <a:rPr lang="en-US" noProof="0"/>
            </a:br>
            <a:r>
              <a:rPr lang="en-US" noProof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26511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ider +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573FEEDE-B5F7-474B-A522-6D25B7EA96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2450" y="2169000"/>
            <a:ext cx="5399088" cy="2520000"/>
          </a:xfrm>
        </p:spPr>
        <p:txBody>
          <a:bodyPr wrap="square" anchor="ctr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800" cap="all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</a:t>
            </a:r>
            <a:br>
              <a:rPr lang="en-US" noProof="0"/>
            </a:br>
            <a:r>
              <a:rPr lang="en-US" noProof="0"/>
              <a:t>NAME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EB5CE3B6-1769-4A81-9D8E-1387F3B6FCD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720000" y="0"/>
            <a:ext cx="547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2794248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+ Full Image, whit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3">
            <a:extLst>
              <a:ext uri="{FF2B5EF4-FFF2-40B4-BE49-F238E27FC236}">
                <a16:creationId xmlns:a16="http://schemas.microsoft.com/office/drawing/2014/main" id="{EB5CE3B6-1769-4A81-9D8E-1387F3B6FCD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73FEEDE-B5F7-474B-A522-6D25B7EA96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2450" y="5085184"/>
            <a:ext cx="11088828" cy="936000"/>
          </a:xfrm>
        </p:spPr>
        <p:txBody>
          <a:bodyPr wrap="square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8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NAME</a:t>
            </a:r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A3FFBAEE-3F7B-4331-1B21-B576895FE8F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0766478" y="6456530"/>
            <a:ext cx="874800" cy="143370"/>
          </a:xfrm>
          <a:prstGeom prst="rect">
            <a:avLst/>
          </a:pr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30DCB4D-56D0-40F1-C61B-916C53266F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4077072"/>
            <a:ext cx="11088687" cy="864096"/>
          </a:xfrm>
        </p:spPr>
        <p:txBody>
          <a:bodyPr anchor="b"/>
          <a:lstStyle>
            <a:lvl1pPr>
              <a:defRPr sz="4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NAME</a:t>
            </a:r>
          </a:p>
        </p:txBody>
      </p:sp>
    </p:spTree>
    <p:extLst>
      <p:ext uri="{BB962C8B-B14F-4D97-AF65-F5344CB8AC3E}">
        <p14:creationId xmlns:p14="http://schemas.microsoft.com/office/powerpoint/2010/main" val="10938108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pter + Full Image, white_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3">
            <a:extLst>
              <a:ext uri="{FF2B5EF4-FFF2-40B4-BE49-F238E27FC236}">
                <a16:creationId xmlns:a16="http://schemas.microsoft.com/office/drawing/2014/main" id="{EB5CE3B6-1769-4A81-9D8E-1387F3B6FCD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73FEEDE-B5F7-474B-A522-6D25B7EA96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2450" y="5085184"/>
            <a:ext cx="11088828" cy="936000"/>
          </a:xfrm>
        </p:spPr>
        <p:txBody>
          <a:bodyPr wrap="square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8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NAME</a:t>
            </a:r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A3FFBAEE-3F7B-4331-1B21-B576895FE8F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0766478" y="6456530"/>
            <a:ext cx="874800" cy="143370"/>
          </a:xfrm>
          <a:prstGeom prst="rect">
            <a:avLst/>
          </a:pr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30DCB4D-56D0-40F1-C61B-916C53266F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4077072"/>
            <a:ext cx="11088687" cy="864096"/>
          </a:xfrm>
        </p:spPr>
        <p:txBody>
          <a:bodyPr anchor="b"/>
          <a:lstStyle>
            <a:lvl1pPr algn="r">
              <a:defRPr sz="4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NAME</a:t>
            </a:r>
          </a:p>
        </p:txBody>
      </p:sp>
    </p:spTree>
    <p:extLst>
      <p:ext uri="{BB962C8B-B14F-4D97-AF65-F5344CB8AC3E}">
        <p14:creationId xmlns:p14="http://schemas.microsoft.com/office/powerpoint/2010/main" val="33494283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pter + Full Image, blu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3">
            <a:extLst>
              <a:ext uri="{FF2B5EF4-FFF2-40B4-BE49-F238E27FC236}">
                <a16:creationId xmlns:a16="http://schemas.microsoft.com/office/drawing/2014/main" id="{EB5CE3B6-1769-4A81-9D8E-1387F3B6FCD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73FEEDE-B5F7-474B-A522-6D25B7EA96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2450" y="5085184"/>
            <a:ext cx="11088828" cy="936000"/>
          </a:xfrm>
        </p:spPr>
        <p:txBody>
          <a:bodyPr wrap="square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800" cap="all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NAME</a:t>
            </a:r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A3FFBAEE-3F7B-4331-1B21-B576895FE8F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0766478" y="6456530"/>
            <a:ext cx="874800" cy="14337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30DCB4D-56D0-40F1-C61B-916C53266F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4077072"/>
            <a:ext cx="11088687" cy="864096"/>
          </a:xfrm>
        </p:spPr>
        <p:txBody>
          <a:bodyPr anchor="b"/>
          <a:lstStyle>
            <a:lvl1pPr>
              <a:defRPr sz="4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NAME</a:t>
            </a:r>
          </a:p>
        </p:txBody>
      </p:sp>
    </p:spTree>
    <p:extLst>
      <p:ext uri="{BB962C8B-B14F-4D97-AF65-F5344CB8AC3E}">
        <p14:creationId xmlns:p14="http://schemas.microsoft.com/office/powerpoint/2010/main" val="23841519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4 Chapter +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0923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EFA26D4E-C1E8-4DB9-96FB-5DF2FB106A9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720000" y="0"/>
            <a:ext cx="547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74BB64F4-532A-4409-8710-36B5B33248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85386" y="2440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05AB08CF-3847-4609-996D-0E28B0C2CA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52450" y="2406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32AA23AF-2E70-4409-B909-FB497AC001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52449" y="2982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Textplatzhalter 4">
            <a:extLst>
              <a:ext uri="{FF2B5EF4-FFF2-40B4-BE49-F238E27FC236}">
                <a16:creationId xmlns:a16="http://schemas.microsoft.com/office/drawing/2014/main" id="{E872D266-4367-468F-9D7C-2765218957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984937" y="3448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44" name="Textplatzhalter 4">
            <a:extLst>
              <a:ext uri="{FF2B5EF4-FFF2-40B4-BE49-F238E27FC236}">
                <a16:creationId xmlns:a16="http://schemas.microsoft.com/office/drawing/2014/main" id="{F3DBFD61-763F-4BA5-81FA-37E4699DFE0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52001" y="3414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5" name="Textplatzhalter 4">
            <a:extLst>
              <a:ext uri="{FF2B5EF4-FFF2-40B4-BE49-F238E27FC236}">
                <a16:creationId xmlns:a16="http://schemas.microsoft.com/office/drawing/2014/main" id="{9F8E0909-D01B-492A-92C7-9506FF3C22E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52000" y="3990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6" name="Textplatzhalter 4">
            <a:extLst>
              <a:ext uri="{FF2B5EF4-FFF2-40B4-BE49-F238E27FC236}">
                <a16:creationId xmlns:a16="http://schemas.microsoft.com/office/drawing/2014/main" id="{262D01EA-0109-4DCA-84FA-59F770671A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984937" y="4456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ABC75F87-A168-430A-A0EC-66C08F2296F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552001" y="4422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6DE44ECC-8FA7-45FD-A171-4377A9A7C92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552000" y="4998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9" name="Textplatzhalter 4">
            <a:extLst>
              <a:ext uri="{FF2B5EF4-FFF2-40B4-BE49-F238E27FC236}">
                <a16:creationId xmlns:a16="http://schemas.microsoft.com/office/drawing/2014/main" id="{EEFBB5EB-D3DE-41A1-8DBD-C9C7409D448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984937" y="5464050"/>
            <a:ext cx="3455538" cy="432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none" baseline="0"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/>
            </a:lvl2pPr>
            <a:lvl3pPr marL="0" indent="0">
              <a:spcAft>
                <a:spcPts val="0"/>
              </a:spcAft>
              <a:buNone/>
              <a:defRPr sz="1600"/>
            </a:lvl3pPr>
            <a:lvl4pPr marL="0" indent="0">
              <a:spcAft>
                <a:spcPts val="0"/>
              </a:spcAft>
              <a:buNone/>
              <a:defRPr sz="1600"/>
            </a:lvl4pPr>
            <a:lvl5pPr marL="0" indent="0">
              <a:spcAft>
                <a:spcPts val="0"/>
              </a:spcAft>
              <a:buNone/>
              <a:defRPr sz="1600"/>
            </a:lvl5pPr>
            <a:lvl6pPr marL="0" indent="0">
              <a:spcAft>
                <a:spcPts val="0"/>
              </a:spcAft>
              <a:buNone/>
              <a:defRPr sz="1600"/>
            </a:lvl6pPr>
            <a:lvl7pPr marL="0" indent="0">
              <a:spcAft>
                <a:spcPts val="0"/>
              </a:spcAft>
              <a:buNone/>
              <a:defRPr sz="1600"/>
            </a:lvl7pPr>
            <a:lvl8pPr marL="0" indent="0">
              <a:spcAft>
                <a:spcPts val="0"/>
              </a:spcAft>
              <a:buNone/>
              <a:defRPr sz="1600"/>
            </a:lvl8pPr>
            <a:lvl9pPr marL="0" indent="0"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en-US"/>
              <a:t>CHAPTER NAME</a:t>
            </a:r>
          </a:p>
        </p:txBody>
      </p:sp>
      <p:sp>
        <p:nvSpPr>
          <p:cNvPr id="50" name="Textplatzhalter 4">
            <a:extLst>
              <a:ext uri="{FF2B5EF4-FFF2-40B4-BE49-F238E27FC236}">
                <a16:creationId xmlns:a16="http://schemas.microsoft.com/office/drawing/2014/main" id="{6EEE9B72-3254-46CF-B71C-F11D8BF4959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52001" y="5430600"/>
            <a:ext cx="361398" cy="576000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40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40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4000" b="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51" name="Textplatzhalter 4">
            <a:extLst>
              <a:ext uri="{FF2B5EF4-FFF2-40B4-BE49-F238E27FC236}">
                <a16:creationId xmlns:a16="http://schemas.microsoft.com/office/drawing/2014/main" id="{663A658C-887E-49D0-B1B0-1FD943A914A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52000" y="6006600"/>
            <a:ext cx="3888000" cy="144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accent1">
                    <a:alpha val="0"/>
                  </a:schemeClr>
                </a:solidFill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8" name="Titel 4">
            <a:extLst>
              <a:ext uri="{FF2B5EF4-FFF2-40B4-BE49-F238E27FC236}">
                <a16:creationId xmlns:a16="http://schemas.microsoft.com/office/drawing/2014/main" id="{8AD99237-4298-4A2B-B39F-42D42E722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764812"/>
            <a:ext cx="5400000" cy="432187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CC349C3F-BA0B-46C4-88B7-2AF58CE411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1384" y="548813"/>
            <a:ext cx="5400000" cy="2160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defRPr sz="1400" cap="all" spc="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2pPr>
            <a:lvl3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3pPr>
            <a:lvl4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4pPr>
            <a:lvl5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5pPr>
            <a:lvl6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6pPr>
            <a:lvl7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7pPr>
            <a:lvl8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8pPr>
            <a:lvl9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Edit title master format by clicking</a:t>
            </a:r>
          </a:p>
        </p:txBody>
      </p:sp>
    </p:spTree>
    <p:extLst>
      <p:ext uri="{BB962C8B-B14F-4D97-AF65-F5344CB8AC3E}">
        <p14:creationId xmlns:p14="http://schemas.microsoft.com/office/powerpoint/2010/main" val="31969367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pter + Full Image, blu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3">
            <a:extLst>
              <a:ext uri="{FF2B5EF4-FFF2-40B4-BE49-F238E27FC236}">
                <a16:creationId xmlns:a16="http://schemas.microsoft.com/office/drawing/2014/main" id="{EB5CE3B6-1769-4A81-9D8E-1387F3B6FCD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73FEEDE-B5F7-474B-A522-6D25B7EA96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2450" y="5085184"/>
            <a:ext cx="11088828" cy="936000"/>
          </a:xfrm>
        </p:spPr>
        <p:txBody>
          <a:bodyPr wrap="square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800" cap="all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NAME</a:t>
            </a:r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A3FFBAEE-3F7B-4331-1B21-B576895FE8F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0766478" y="6456530"/>
            <a:ext cx="874800" cy="14337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30DCB4D-56D0-40F1-C61B-916C53266F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4077072"/>
            <a:ext cx="11088687" cy="864096"/>
          </a:xfrm>
        </p:spPr>
        <p:txBody>
          <a:bodyPr anchor="b"/>
          <a:lstStyle>
            <a:lvl1pPr algn="r">
              <a:defRPr sz="4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NAME</a:t>
            </a:r>
          </a:p>
        </p:txBody>
      </p:sp>
    </p:spTree>
    <p:extLst>
      <p:ext uri="{BB962C8B-B14F-4D97-AF65-F5344CB8AC3E}">
        <p14:creationId xmlns:p14="http://schemas.microsoft.com/office/powerpoint/2010/main" val="16002200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081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15" name="Fußzeilenplatzhalter 15">
            <a:extLst>
              <a:ext uri="{FF2B5EF4-FFF2-40B4-BE49-F238E27FC236}">
                <a16:creationId xmlns:a16="http://schemas.microsoft.com/office/drawing/2014/main" id="{B806FFBF-40E9-40B7-B366-A1DDABC9F7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55441" y="6453352"/>
            <a:ext cx="3815942" cy="144000"/>
          </a:xfrm>
          <a:prstGeom prst="rect">
            <a:avLst/>
          </a:prstGeom>
        </p:spPr>
        <p:txBody>
          <a:bodyPr vert="horz" wrap="square" lIns="0" tIns="21600" rIns="0" bIns="0" rtlCol="0" anchor="t">
            <a:no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Avenir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en-US"/>
              <a:t>6. Anwendertreffen - Keynote ITO</a:t>
            </a:r>
          </a:p>
        </p:txBody>
      </p:sp>
      <p:sp>
        <p:nvSpPr>
          <p:cNvPr id="16" name="Foliennummernplatzhalter 16">
            <a:extLst>
              <a:ext uri="{FF2B5EF4-FFF2-40B4-BE49-F238E27FC236}">
                <a16:creationId xmlns:a16="http://schemas.microsoft.com/office/drawing/2014/main" id="{9604FC2B-919E-4719-9437-38A375F39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1384" y="6453352"/>
            <a:ext cx="504056" cy="144000"/>
          </a:xfrm>
          <a:prstGeom prst="rect">
            <a:avLst/>
          </a:prstGeom>
        </p:spPr>
        <p:txBody>
          <a:bodyPr vert="horz" wrap="square" lIns="0" tIns="21600" rIns="0" bIns="0" rtlCol="0" anchor="t">
            <a:noAutofit/>
          </a:bodyPr>
          <a:lstStyle>
            <a:lvl1pPr>
              <a:defRPr lang="de-DE" sz="800" b="0" smtClean="0">
                <a:solidFill>
                  <a:schemeClr val="tx1"/>
                </a:solidFill>
                <a:latin typeface="Avenir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Titel 4">
            <a:extLst>
              <a:ext uri="{FF2B5EF4-FFF2-40B4-BE49-F238E27FC236}">
                <a16:creationId xmlns:a16="http://schemas.microsoft.com/office/drawing/2014/main" id="{FFA37D55-E2FF-4FFC-8FAF-62ABB1CC3A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2450" y="764812"/>
            <a:ext cx="8638934" cy="432187"/>
          </a:xfrm>
        </p:spPr>
        <p:txBody>
          <a:bodyPr anchor="b" anchorCtr="0"/>
          <a:lstStyle/>
          <a:p>
            <a:r>
              <a:rPr lang="en-US"/>
              <a:t>Edit title master format by clicking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162B891F-8B9C-4BB8-B070-0D9BBAD465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2450" y="548813"/>
            <a:ext cx="8638934" cy="2160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defRPr sz="1400" b="0" cap="all" spc="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2pPr>
            <a:lvl3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3pPr>
            <a:lvl4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4pPr>
            <a:lvl5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5pPr>
            <a:lvl6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6pPr>
            <a:lvl7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7pPr>
            <a:lvl8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8pPr>
            <a:lvl9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Edit title master format by clicking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D20F81EF-50CD-4C63-BC2B-FB74B1E14C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52450" y="6062481"/>
            <a:ext cx="3598412" cy="123111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>
            <a:noAutofit/>
          </a:bodyPr>
          <a:lstStyle>
            <a:lvl1pPr>
              <a:defRPr lang="de-DE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Clr>
                <a:schemeClr val="bg2"/>
              </a:buClr>
            </a:pPr>
            <a:r>
              <a:rPr lang="en-US"/>
              <a:t>*Sour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5372D6-008B-4A5D-8742-B1A5D74EAE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52450" y="1484313"/>
            <a:ext cx="11087100" cy="45370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0574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Text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8500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15" name="Fußzeilenplatzhalter 15">
            <a:extLst>
              <a:ext uri="{FF2B5EF4-FFF2-40B4-BE49-F238E27FC236}">
                <a16:creationId xmlns:a16="http://schemas.microsoft.com/office/drawing/2014/main" id="{B806FFBF-40E9-40B7-B366-A1DDABC9F7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55441" y="6453352"/>
            <a:ext cx="3815942" cy="144000"/>
          </a:xfrm>
          <a:prstGeom prst="rect">
            <a:avLst/>
          </a:prstGeom>
        </p:spPr>
        <p:txBody>
          <a:bodyPr vert="horz" wrap="square" lIns="0" tIns="21600" rIns="0" bIns="0" rtlCol="0" anchor="t">
            <a:no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Avenir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en-US"/>
              <a:t>6. Anwendertreffen - Keynote ITO</a:t>
            </a:r>
          </a:p>
        </p:txBody>
      </p:sp>
      <p:sp>
        <p:nvSpPr>
          <p:cNvPr id="16" name="Foliennummernplatzhalter 16">
            <a:extLst>
              <a:ext uri="{FF2B5EF4-FFF2-40B4-BE49-F238E27FC236}">
                <a16:creationId xmlns:a16="http://schemas.microsoft.com/office/drawing/2014/main" id="{9604FC2B-919E-4719-9437-38A375F39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1384" y="6453352"/>
            <a:ext cx="504056" cy="144000"/>
          </a:xfrm>
          <a:prstGeom prst="rect">
            <a:avLst/>
          </a:prstGeom>
        </p:spPr>
        <p:txBody>
          <a:bodyPr vert="horz" wrap="square" lIns="0" tIns="21600" rIns="0" bIns="0" rtlCol="0" anchor="t">
            <a:noAutofit/>
          </a:bodyPr>
          <a:lstStyle>
            <a:lvl1pPr>
              <a:defRPr lang="de-DE" sz="800" b="0" smtClean="0">
                <a:solidFill>
                  <a:schemeClr val="tx1"/>
                </a:solidFill>
                <a:latin typeface="Avenir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1" name="Titel 4">
            <a:extLst>
              <a:ext uri="{FF2B5EF4-FFF2-40B4-BE49-F238E27FC236}">
                <a16:creationId xmlns:a16="http://schemas.microsoft.com/office/drawing/2014/main" id="{D22A486A-F354-414B-91C8-B8C6EDA4EB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2450" y="764812"/>
            <a:ext cx="8638934" cy="432187"/>
          </a:xfrm>
        </p:spPr>
        <p:txBody>
          <a:bodyPr anchor="b" anchorCtr="0"/>
          <a:lstStyle/>
          <a:p>
            <a:r>
              <a:rPr lang="en-US"/>
              <a:t>Edit title master format by clicking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0DF3DC04-F9A0-479B-A800-472FCBECA2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52450" y="548813"/>
            <a:ext cx="8638934" cy="2160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defRPr sz="1400" b="0" cap="all" spc="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2pPr>
            <a:lvl3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3pPr>
            <a:lvl4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4pPr>
            <a:lvl5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5pPr>
            <a:lvl6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6pPr>
            <a:lvl7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7pPr>
            <a:lvl8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8pPr>
            <a:lvl9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Edit title master format by clicking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8E33EC8F-4A47-41B5-814F-2C0C36AFF6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52450" y="6062481"/>
            <a:ext cx="3598412" cy="123111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>
            <a:noAutofit/>
          </a:bodyPr>
          <a:lstStyle>
            <a:lvl1pPr>
              <a:defRPr lang="de-DE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Clr>
                <a:schemeClr val="bg2"/>
              </a:buClr>
            </a:pPr>
            <a:r>
              <a:rPr lang="en-US"/>
              <a:t>*Sourc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A97711B-52C3-4424-BD4F-275C0F6E5E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52450" y="1484313"/>
            <a:ext cx="11087100" cy="4537075"/>
          </a:xfrm>
        </p:spPr>
        <p:txBody>
          <a:bodyPr/>
          <a:lstStyle>
            <a:lvl1pPr marL="216000" indent="-216000">
              <a:buFont typeface="Arial" panose="020B0604020202020204" pitchFamily="34" charset="0"/>
              <a:buChar char="•"/>
              <a:defRPr b="0">
                <a:solidFill>
                  <a:schemeClr val="bg2"/>
                </a:solidFill>
              </a:defRPr>
            </a:lvl1pPr>
            <a:lvl2pPr marL="432000" indent="-216000">
              <a:buFont typeface="Arial" panose="020B0604020202020204" pitchFamily="34" charset="0"/>
              <a:buChar char="•"/>
              <a:defRPr sz="1600"/>
            </a:lvl2pPr>
            <a:lvl3pPr marL="648000" indent="-216000">
              <a:defRPr sz="1400"/>
            </a:lvl3pPr>
            <a:lvl4pPr marL="864000" indent="-216000">
              <a:defRPr sz="1400"/>
            </a:lvl4pPr>
            <a:lvl5pPr marL="1080000" indent="-216000">
              <a:defRPr sz="1400"/>
            </a:lvl5pPr>
            <a:lvl6pPr marL="1296000" indent="-216000">
              <a:defRPr sz="1400"/>
            </a:lvl6pPr>
            <a:lvl7pPr marL="1512000" indent="-216000">
              <a:defRPr sz="1400"/>
            </a:lvl7pPr>
            <a:lvl8pPr marL="1728000" indent="-216000">
              <a:defRPr sz="1400"/>
            </a:lvl8pPr>
            <a:lvl9pPr marL="1944000" indent="-216000"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79479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941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9" name="Fußzeilenplatzhalter 15">
            <a:extLst>
              <a:ext uri="{FF2B5EF4-FFF2-40B4-BE49-F238E27FC236}">
                <a16:creationId xmlns:a16="http://schemas.microsoft.com/office/drawing/2014/main" id="{09C16965-EC26-4585-83A0-9CD38E558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55441" y="6453352"/>
            <a:ext cx="3815942" cy="144000"/>
          </a:xfrm>
          <a:prstGeom prst="rect">
            <a:avLst/>
          </a:prstGeom>
        </p:spPr>
        <p:txBody>
          <a:bodyPr vert="horz" wrap="square" lIns="0" tIns="21600" rIns="0" bIns="0" rtlCol="0" anchor="t">
            <a:no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Avenir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en-US"/>
              <a:t>6. Anwendertreffen - Keynote ITO</a:t>
            </a:r>
          </a:p>
        </p:txBody>
      </p:sp>
      <p:sp>
        <p:nvSpPr>
          <p:cNvPr id="11" name="Foliennummernplatzhalter 16">
            <a:extLst>
              <a:ext uri="{FF2B5EF4-FFF2-40B4-BE49-F238E27FC236}">
                <a16:creationId xmlns:a16="http://schemas.microsoft.com/office/drawing/2014/main" id="{415BBAD0-9AA3-446F-AF35-B695438488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1384" y="6453352"/>
            <a:ext cx="504056" cy="144000"/>
          </a:xfrm>
          <a:prstGeom prst="rect">
            <a:avLst/>
          </a:prstGeom>
        </p:spPr>
        <p:txBody>
          <a:bodyPr vert="horz" wrap="square" lIns="0" tIns="21600" rIns="0" bIns="0" rtlCol="0" anchor="t">
            <a:noAutofit/>
          </a:bodyPr>
          <a:lstStyle>
            <a:lvl1pPr>
              <a:defRPr lang="de-DE" sz="800" b="0" smtClean="0">
                <a:solidFill>
                  <a:schemeClr val="tx1"/>
                </a:solidFill>
                <a:latin typeface="Avenir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0" name="Titel 4">
            <a:extLst>
              <a:ext uri="{FF2B5EF4-FFF2-40B4-BE49-F238E27FC236}">
                <a16:creationId xmlns:a16="http://schemas.microsoft.com/office/drawing/2014/main" id="{1B6CCEC2-9AB4-43FC-B492-8AAB97FC93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764812"/>
            <a:ext cx="8640000" cy="432187"/>
          </a:xfrm>
        </p:spPr>
        <p:txBody>
          <a:bodyPr anchor="b" anchorCtr="0"/>
          <a:lstStyle/>
          <a:p>
            <a:r>
              <a:rPr lang="en-US"/>
              <a:t>Edit title master format by clicking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BA87F995-8B5E-415F-9FF8-FA1049687D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1384" y="548813"/>
            <a:ext cx="8640000" cy="2160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0"/>
              </a:spcAft>
              <a:defRPr sz="1400" b="0" cap="all" spc="0"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2pPr>
            <a:lvl3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3pPr>
            <a:lvl4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4pPr>
            <a:lvl5pPr marL="0" indent="0">
              <a:spcAft>
                <a:spcPts val="0"/>
              </a:spcAft>
              <a:defRPr sz="1400" cap="all">
                <a:solidFill>
                  <a:schemeClr val="accent1"/>
                </a:solidFill>
                <a:latin typeface="+mn-lt"/>
              </a:defRPr>
            </a:lvl5pPr>
            <a:lvl6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6pPr>
            <a:lvl7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7pPr>
            <a:lvl8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8pPr>
            <a:lvl9pPr marL="0" indent="0">
              <a:spcAft>
                <a:spcPts val="0"/>
              </a:spcAft>
              <a:defRPr sz="1400">
                <a:solidFill>
                  <a:schemeClr val="accent1"/>
                </a:solidFill>
                <a:latin typeface="+mn-lt"/>
              </a:defRPr>
            </a:lvl9pPr>
          </a:lstStyle>
          <a:p>
            <a:pPr lvl="0"/>
            <a:r>
              <a:rPr lang="en-US"/>
              <a:t>Edit title master format by clicki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2BD31D8-FB13-43F9-A432-697C4B7F22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50862" y="6062481"/>
            <a:ext cx="3600000" cy="123111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>
            <a:noAutofit/>
          </a:bodyPr>
          <a:lstStyle>
            <a:lvl1pPr>
              <a:defRPr lang="de-DE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Clr>
                <a:schemeClr val="bg2"/>
              </a:buClr>
            </a:pPr>
            <a:r>
              <a:rPr lang="en-US"/>
              <a:t>*Source</a:t>
            </a:r>
          </a:p>
        </p:txBody>
      </p:sp>
    </p:spTree>
    <p:extLst>
      <p:ext uri="{BB962C8B-B14F-4D97-AF65-F5344CB8AC3E}">
        <p14:creationId xmlns:p14="http://schemas.microsoft.com/office/powerpoint/2010/main" val="19589784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5925ED-73E6-4F46-8D72-81A464520C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DE68C1-88F0-407B-87FA-A0CDE8628D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2304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le i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5925ED-73E6-4F46-8D72-81A464520C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DE68C1-88F0-407B-87FA-A0CDE8628D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3208C2BA-E6E8-A696-44D1-DDCED863A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1291456" y="0"/>
            <a:ext cx="3240360" cy="2924944"/>
          </a:xfrm>
          <a:solidFill>
            <a:schemeClr val="tx1"/>
          </a:solidFill>
        </p:spPr>
        <p:txBody>
          <a:bodyPr lIns="360000" tIns="936000" rIns="360000" bIns="360000"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Edit title master format by clicking</a:t>
            </a:r>
          </a:p>
        </p:txBody>
      </p:sp>
    </p:spTree>
    <p:extLst>
      <p:ext uri="{BB962C8B-B14F-4D97-AF65-F5344CB8AC3E}">
        <p14:creationId xmlns:p14="http://schemas.microsoft.com/office/powerpoint/2010/main" val="18448877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with Three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>
            <a:extLst>
              <a:ext uri="{FF2B5EF4-FFF2-40B4-BE49-F238E27FC236}">
                <a16:creationId xmlns:a16="http://schemas.microsoft.com/office/drawing/2014/main" id="{FBAB6C58-A040-6C7A-FF95-513C313537D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453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C9CB1415-0004-C7CC-D0D9-D944AE5EE9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016104" y="3068960"/>
            <a:ext cx="720000" cy="432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000" b="1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sz="30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632C6FF-CB2D-4B5C-EAE6-6DCBE567045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7327608" y="3068960"/>
            <a:ext cx="720000" cy="432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000" b="1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sz="30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765375B0-07B1-12DB-B6B3-9EC032A0AE3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9616242" y="3068960"/>
            <a:ext cx="720000" cy="432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000" b="1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sz="30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spcAft>
                <a:spcPts val="0"/>
              </a:spcAft>
              <a:buNone/>
              <a:defRPr sz="30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57C49EF0-2D54-0709-4576-AB1CDA961E9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>
          <a:xfrm>
            <a:off x="5016104" y="3573016"/>
            <a:ext cx="2016000" cy="2448372"/>
          </a:xfrm>
        </p:spPr>
        <p:txBody>
          <a:bodyPr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061253EB-0064-8A99-0F2C-82DDB325EFB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 bwMode="gray">
          <a:xfrm>
            <a:off x="7320360" y="3573016"/>
            <a:ext cx="2016000" cy="2448372"/>
          </a:xfrm>
        </p:spPr>
        <p:txBody>
          <a:bodyPr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99620F72-3DCC-FD2C-B73A-2DE3532C153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>
          <a:xfrm>
            <a:off x="9624616" y="3573016"/>
            <a:ext cx="2016000" cy="2448372"/>
          </a:xfrm>
        </p:spPr>
        <p:txBody>
          <a:bodyPr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F7047A39-85D5-FD7A-B30A-3AFD8539F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3143672" y="0"/>
            <a:ext cx="2952328" cy="2276872"/>
          </a:xfrm>
          <a:solidFill>
            <a:schemeClr val="tx1"/>
          </a:solidFill>
        </p:spPr>
        <p:txBody>
          <a:bodyPr lIns="360000" tIns="360000" rIns="360000" bIns="360000" anchor="t" anchorCtr="0"/>
          <a:lstStyle>
            <a:lvl1pPr>
              <a:defRPr sz="1800" spc="3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Edit title master format by clicking</a:t>
            </a:r>
          </a:p>
        </p:txBody>
      </p:sp>
    </p:spTree>
    <p:extLst>
      <p:ext uri="{BB962C8B-B14F-4D97-AF65-F5344CB8AC3E}">
        <p14:creationId xmlns:p14="http://schemas.microsoft.com/office/powerpoint/2010/main" val="33016354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Images with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26">
            <a:extLst>
              <a:ext uri="{FF2B5EF4-FFF2-40B4-BE49-F238E27FC236}">
                <a16:creationId xmlns:a16="http://schemas.microsoft.com/office/drawing/2014/main" id="{D8679C3A-B5E6-FF84-FD6F-FA44F15CC8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871864" y="1700808"/>
            <a:ext cx="3528392" cy="5157192"/>
          </a:xfrm>
          <a:solidFill>
            <a:schemeClr val="tx2"/>
          </a:solidFill>
        </p:spPr>
        <p:txBody>
          <a:bodyPr wrap="none" lIns="504000" tIns="432000" rIns="0" bIns="720000" anchor="b" anchorCtr="0"/>
          <a:lstStyle>
            <a:lvl1pPr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Edit</a:t>
            </a:r>
            <a:br>
              <a:rPr lang="en-US"/>
            </a:br>
            <a:r>
              <a:rPr lang="en-US"/>
              <a:t>title master</a:t>
            </a:r>
            <a:br>
              <a:rPr lang="en-US"/>
            </a:br>
            <a:r>
              <a:rPr lang="en-US"/>
              <a:t>forma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5925ED-73E6-4F46-8D72-81A464520C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055441" y="6453352"/>
            <a:ext cx="3456000" cy="144000"/>
          </a:xfrm>
        </p:spPr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DE68C1-88F0-407B-87FA-A0CDE8628D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7CBE435C-38BF-793B-50E7-31DB63624CC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999656" y="0"/>
            <a:ext cx="2448272" cy="3356992"/>
          </a:xfrm>
          <a:prstGeom prst="rect">
            <a:avLst/>
          </a:prstGeom>
          <a:noFill/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7" name="Bildplatzhalter 3">
            <a:extLst>
              <a:ext uri="{FF2B5EF4-FFF2-40B4-BE49-F238E27FC236}">
                <a16:creationId xmlns:a16="http://schemas.microsoft.com/office/drawing/2014/main" id="{CF649400-712B-8636-52EA-657D8D8CC3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960096" y="1340768"/>
            <a:ext cx="2448272" cy="3168352"/>
          </a:xfrm>
          <a:prstGeom prst="rect">
            <a:avLst/>
          </a:prstGeom>
          <a:noFill/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384E5187-7B41-E31D-CECE-CE5015E39C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487488" y="2996952"/>
            <a:ext cx="1440000" cy="432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sz="36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EDAA2CAB-25BC-B0CA-3D70-A1B43B69BEC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9631864" y="3644924"/>
            <a:ext cx="1440000" cy="432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sz="3600" b="1">
                <a:solidFill>
                  <a:schemeClr val="tx1"/>
                </a:solidFill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5pPr>
            <a:lvl6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6pPr>
            <a:lvl7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7pPr>
            <a:lvl8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8pPr>
            <a:lvl9pPr marL="0" indent="0" algn="l">
              <a:spcAft>
                <a:spcPts val="0"/>
              </a:spcAft>
              <a:buNone/>
              <a:defRPr sz="36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0" name="Textplatzhalter 22">
            <a:extLst>
              <a:ext uri="{FF2B5EF4-FFF2-40B4-BE49-F238E27FC236}">
                <a16:creationId xmlns:a16="http://schemas.microsoft.com/office/drawing/2014/main" id="{AAB8662A-8EA4-54C6-7C03-D7DECE07D28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>
          <a:xfrm>
            <a:off x="1487488" y="3501316"/>
            <a:ext cx="2016000" cy="1872000"/>
          </a:xfrm>
        </p:spPr>
        <p:txBody>
          <a:bodyPr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1" name="Textplatzhalter 22">
            <a:extLst>
              <a:ext uri="{FF2B5EF4-FFF2-40B4-BE49-F238E27FC236}">
                <a16:creationId xmlns:a16="http://schemas.microsoft.com/office/drawing/2014/main" id="{23A2B59D-70F8-424D-91FB-37B60090012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 bwMode="gray">
          <a:xfrm>
            <a:off x="9624616" y="4149288"/>
            <a:ext cx="2016000" cy="1872000"/>
          </a:xfrm>
        </p:spPr>
        <p:txBody>
          <a:bodyPr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9446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with Empty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8DE000D-2386-A6D1-BB63-47CE8556F27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>
          <a:xfrm>
            <a:off x="1055441" y="6453352"/>
            <a:ext cx="2592000" cy="144000"/>
          </a:xfrm>
        </p:spPr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A3B65BF0-3475-BB87-8D21-51197BEB8C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764704"/>
            <a:ext cx="5472000" cy="3960440"/>
          </a:xfrm>
          <a:prstGeom prst="rect">
            <a:avLst/>
          </a:prstGeom>
          <a:noFill/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191F50D-BF6C-FFD0-FF8F-6042815FBCF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71C7CD1-C5FC-8FFD-0A09-317277038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9737" y="3933056"/>
            <a:ext cx="3528391" cy="2924944"/>
          </a:xfrm>
          <a:solidFill>
            <a:schemeClr val="tx2"/>
          </a:solidFill>
        </p:spPr>
        <p:txBody>
          <a:bodyPr wrap="none" lIns="504000" tIns="432000" rIns="0" bIns="720000" anchor="b" anchorCtr="0"/>
          <a:lstStyle>
            <a:lvl1pPr>
              <a:defRPr sz="4000"/>
            </a:lvl1pPr>
          </a:lstStyle>
          <a:p>
            <a:r>
              <a:rPr lang="en-US"/>
              <a:t>Edit title master</a:t>
            </a:r>
            <a:br>
              <a:rPr lang="en-US"/>
            </a:br>
            <a:r>
              <a:rPr lang="en-US"/>
              <a:t>format by clicking</a:t>
            </a:r>
          </a:p>
        </p:txBody>
      </p:sp>
    </p:spTree>
    <p:extLst>
      <p:ext uri="{BB962C8B-B14F-4D97-AF65-F5344CB8AC3E}">
        <p14:creationId xmlns:p14="http://schemas.microsoft.com/office/powerpoint/2010/main" val="23650339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Image with Empty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A3B65BF0-3475-BB87-8D21-51197BEB8C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547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71C7CD1-C5FC-8FFD-0A09-317277038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41529" y="1124840"/>
            <a:ext cx="5399087" cy="864000"/>
          </a:xfrm>
        </p:spPr>
        <p:txBody>
          <a:bodyPr anchor="b" anchorCtr="0"/>
          <a:lstStyle/>
          <a:p>
            <a:r>
              <a:rPr lang="en-US"/>
              <a:t>Edit title master format by clicking</a:t>
            </a:r>
          </a:p>
        </p:txBody>
      </p:sp>
      <p:sp>
        <p:nvSpPr>
          <p:cNvPr id="11" name="Textplatzhalter 33">
            <a:extLst>
              <a:ext uri="{FF2B5EF4-FFF2-40B4-BE49-F238E27FC236}">
                <a16:creationId xmlns:a16="http://schemas.microsoft.com/office/drawing/2014/main" id="{40E80046-A892-23DE-C587-3800C387D04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 bwMode="invGray">
          <a:xfrm>
            <a:off x="4799856" y="4581128"/>
            <a:ext cx="2951162" cy="2276872"/>
          </a:xfrm>
          <a:solidFill>
            <a:schemeClr val="tx1"/>
          </a:solidFill>
        </p:spPr>
        <p:txBody>
          <a:bodyPr lIns="360000" tIns="360000" rIns="360000" bIns="360000" anchor="t" anchorCtr="0"/>
          <a:lstStyle>
            <a:lvl1pPr>
              <a:spcAft>
                <a:spcPts val="0"/>
              </a:spcAft>
              <a:defRPr sz="1800" b="1" cap="all">
                <a:solidFill>
                  <a:schemeClr val="bg1"/>
                </a:solidFill>
                <a:latin typeface="+mj-lt"/>
              </a:defRPr>
            </a:lvl1pPr>
            <a:lvl2pPr>
              <a:spcAft>
                <a:spcPts val="0"/>
              </a:spcAft>
              <a:defRPr sz="1800" b="0" cap="all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FontTx/>
              <a:buNone/>
              <a:defRPr sz="1800" b="0" cap="all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FontTx/>
              <a:buNone/>
              <a:defRPr sz="1800" b="0" cap="all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FontTx/>
              <a:buNone/>
              <a:defRPr sz="1800" b="0" cap="all">
                <a:solidFill>
                  <a:schemeClr val="bg1"/>
                </a:solidFill>
                <a:latin typeface="+mj-lt"/>
              </a:defRPr>
            </a:lvl5pPr>
            <a:lvl6pPr marL="0" indent="0">
              <a:spcAft>
                <a:spcPts val="0"/>
              </a:spcAft>
              <a:buFontTx/>
              <a:buNone/>
              <a:defRPr sz="1800" b="0" cap="all">
                <a:solidFill>
                  <a:schemeClr val="bg1"/>
                </a:solidFill>
                <a:latin typeface="+mj-lt"/>
              </a:defRPr>
            </a:lvl6pPr>
            <a:lvl7pPr marL="0" indent="0">
              <a:spcAft>
                <a:spcPts val="0"/>
              </a:spcAft>
              <a:buFontTx/>
              <a:buNone/>
              <a:defRPr sz="1800" b="0" cap="all">
                <a:solidFill>
                  <a:schemeClr val="bg1"/>
                </a:solidFill>
                <a:latin typeface="+mj-lt"/>
              </a:defRPr>
            </a:lvl7pPr>
            <a:lvl8pPr marL="0" indent="0">
              <a:spcAft>
                <a:spcPts val="0"/>
              </a:spcAft>
              <a:buFontTx/>
              <a:buNone/>
              <a:defRPr sz="1800" b="0" cap="all">
                <a:solidFill>
                  <a:schemeClr val="bg1"/>
                </a:solidFill>
                <a:latin typeface="+mj-lt"/>
              </a:defRPr>
            </a:lvl8pPr>
            <a:lvl9pPr marL="0" indent="0">
              <a:spcAft>
                <a:spcPts val="0"/>
              </a:spcAft>
              <a:buFontTx/>
              <a:buNone/>
              <a:defRPr sz="1800" b="0" cap="all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7426177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573FEEDE-B5F7-474B-A522-6D25B7EA96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036000" y="2169000"/>
            <a:ext cx="6120000" cy="2520000"/>
          </a:xfrm>
        </p:spPr>
        <p:txBody>
          <a:bodyPr wrap="square" anchor="ctr" anchorCtr="0">
            <a:no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8800" cap="all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</a:t>
            </a:r>
            <a:br>
              <a:rPr lang="en-US" noProof="0"/>
            </a:br>
            <a:r>
              <a:rPr lang="en-US" noProof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07532049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Images with Empty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A3B65BF0-3475-BB87-8D21-51197BEB8C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547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71C7CD1-C5FC-8FFD-0A09-317277038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41529" y="1124840"/>
            <a:ext cx="5399087" cy="86400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Edit title master format by clicking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2395349C-11CC-EC35-8DAC-C6EAF5B3CF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224072" y="2205152"/>
            <a:ext cx="2520000" cy="2520000"/>
          </a:xfrm>
          <a:prstGeom prst="rect">
            <a:avLst/>
          </a:prstGeom>
          <a:noFill/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11113492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Images with Three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A3B65BF0-3475-BB87-8D21-51197BEB8C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738660" y="1484313"/>
            <a:ext cx="6453340" cy="3672880"/>
          </a:xfrm>
          <a:prstGeom prst="rect">
            <a:avLst/>
          </a:prstGeom>
          <a:noFill/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2395349C-11CC-EC35-8DAC-C6EAF5B3CF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991544" y="3789040"/>
            <a:ext cx="3528392" cy="3068960"/>
          </a:xfrm>
          <a:prstGeom prst="rect">
            <a:avLst/>
          </a:prstGeom>
          <a:noFill/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760F1B2-27BF-7ED4-A47B-E4D3DE962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2450" y="405000"/>
            <a:ext cx="4895478" cy="792000"/>
          </a:xfrm>
        </p:spPr>
        <p:txBody>
          <a:bodyPr/>
          <a:lstStyle/>
          <a:p>
            <a:r>
              <a:rPr lang="en-US"/>
              <a:t>Edit title master format by clicking</a:t>
            </a:r>
          </a:p>
        </p:txBody>
      </p:sp>
      <p:sp>
        <p:nvSpPr>
          <p:cNvPr id="13" name="Textplatzhalter 22">
            <a:extLst>
              <a:ext uri="{FF2B5EF4-FFF2-40B4-BE49-F238E27FC236}">
                <a16:creationId xmlns:a16="http://schemas.microsoft.com/office/drawing/2014/main" id="{B8B9B60F-20B5-F9C9-5C60-4C9794BDB4E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>
          <a:xfrm>
            <a:off x="5735960" y="476877"/>
            <a:ext cx="2736000" cy="791883"/>
          </a:xfrm>
        </p:spPr>
        <p:txBody>
          <a:bodyPr anchor="b" anchorCtr="0"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Textplatzhalter 22">
            <a:extLst>
              <a:ext uri="{FF2B5EF4-FFF2-40B4-BE49-F238E27FC236}">
                <a16:creationId xmlns:a16="http://schemas.microsoft.com/office/drawing/2014/main" id="{C5238A9D-1CB5-8B63-CF53-01E44F30645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 bwMode="gray">
          <a:xfrm>
            <a:off x="1991544" y="2853016"/>
            <a:ext cx="2736000" cy="720000"/>
          </a:xfrm>
        </p:spPr>
        <p:txBody>
          <a:bodyPr anchor="b" anchorCtr="0"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platzhalter 22">
            <a:extLst>
              <a:ext uri="{FF2B5EF4-FFF2-40B4-BE49-F238E27FC236}">
                <a16:creationId xmlns:a16="http://schemas.microsoft.com/office/drawing/2014/main" id="{9E1BFC65-1EDC-F609-65F0-4DEADEF3EB9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>
          <a:xfrm>
            <a:off x="8472264" y="5373288"/>
            <a:ext cx="3167286" cy="648000"/>
          </a:xfrm>
        </p:spPr>
        <p:txBody>
          <a:bodyPr anchor="t" anchorCtr="0"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9548492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ollage with Empty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7E78E196-587A-BC5A-F8F4-5B26C46C6E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343472" y="0"/>
            <a:ext cx="4104456" cy="4221088"/>
          </a:xfrm>
          <a:prstGeom prst="rect">
            <a:avLst/>
          </a:prstGeom>
          <a:noFill/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3C0287FB-92B8-1ED9-40C9-0E09653381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591944" y="3284984"/>
            <a:ext cx="6600056" cy="357301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059DA9C3-077E-0A02-845F-85B28DF187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51784" y="1412776"/>
            <a:ext cx="2448000" cy="2304000"/>
          </a:xfrm>
          <a:solidFill>
            <a:schemeClr val="tx2"/>
          </a:solidFill>
        </p:spPr>
        <p:txBody>
          <a:bodyPr wrap="none" lIns="504000" tIns="0" rIns="0" anchor="ctr" anchorCtr="0"/>
          <a:lstStyle>
            <a:lvl1pPr>
              <a:defRPr sz="4000"/>
            </a:lvl1pPr>
          </a:lstStyle>
          <a:p>
            <a:r>
              <a:rPr lang="en-US"/>
              <a:t>Edit title master</a:t>
            </a:r>
            <a:br>
              <a:rPr lang="en-US"/>
            </a:br>
            <a:r>
              <a:rPr lang="en-US"/>
              <a:t>format by click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5925ED-73E6-4F46-8D72-81A464520C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DE68C1-88F0-407B-87FA-A0CDE8628D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182C2BE6-96C4-D8F9-E6E4-17EC33B1E5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-18380" y="4365104"/>
            <a:ext cx="2802012" cy="1512168"/>
          </a:xfrm>
          <a:prstGeom prst="rect">
            <a:avLst/>
          </a:prstGeom>
          <a:noFill/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4B72B512-DCE7-2F90-FA4E-C0D8CF11E5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927648" y="4365104"/>
            <a:ext cx="2520280" cy="1512168"/>
          </a:xfrm>
          <a:prstGeom prst="rect">
            <a:avLst/>
          </a:prstGeom>
          <a:noFill/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2" name="Bildplatzhalter 5">
            <a:extLst>
              <a:ext uri="{FF2B5EF4-FFF2-40B4-BE49-F238E27FC236}">
                <a16:creationId xmlns:a16="http://schemas.microsoft.com/office/drawing/2014/main" id="{16F426D0-8CE9-3506-3A26-DBF7C04F4EEE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10766478" y="6456530"/>
            <a:ext cx="874800" cy="14337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5988614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mages with Empty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7E78E196-587A-BC5A-F8F4-5B26C46C6E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720000" y="0"/>
            <a:ext cx="5472000" cy="68580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3C0287FB-92B8-1ED9-40C9-0E09653381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2924943"/>
            <a:ext cx="3143672" cy="1512169"/>
          </a:xfrm>
          <a:prstGeom prst="rect">
            <a:avLst/>
          </a:prstGeom>
          <a:noFill/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059DA9C3-077E-0A02-845F-85B28DF187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016152" y="4581384"/>
            <a:ext cx="2448000" cy="2276616"/>
          </a:xfrm>
          <a:solidFill>
            <a:schemeClr val="tx2"/>
          </a:solidFill>
        </p:spPr>
        <p:txBody>
          <a:bodyPr wrap="none" lIns="504000" tIns="0" rIns="0" bIns="720000" anchor="b" anchorCtr="0"/>
          <a:lstStyle>
            <a:lvl1pPr>
              <a:defRPr sz="4000"/>
            </a:lvl1pPr>
          </a:lstStyle>
          <a:p>
            <a:r>
              <a:rPr lang="en-US"/>
              <a:t>Edit title master</a:t>
            </a:r>
            <a:br>
              <a:rPr lang="en-US"/>
            </a:br>
            <a:r>
              <a:rPr lang="en-US"/>
              <a:t>format by click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5925ED-73E6-4F46-8D72-81A464520C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DE68C1-88F0-407B-87FA-A0CDE8628D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182C2BE6-96C4-D8F9-E6E4-17EC33B1E5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287864" y="2924944"/>
            <a:ext cx="1584000" cy="1512168"/>
          </a:xfrm>
          <a:prstGeom prst="rect">
            <a:avLst/>
          </a:prstGeom>
          <a:noFill/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4B72B512-DCE7-2F90-FA4E-C0D8CF11E5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015879" y="2924944"/>
            <a:ext cx="1554013" cy="1512168"/>
          </a:xfrm>
          <a:prstGeom prst="rect">
            <a:avLst/>
          </a:prstGeom>
          <a:noFill/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5" name="Bildplatzhalter 5">
            <a:extLst>
              <a:ext uri="{FF2B5EF4-FFF2-40B4-BE49-F238E27FC236}">
                <a16:creationId xmlns:a16="http://schemas.microsoft.com/office/drawing/2014/main" id="{CD18417E-49F2-6D96-DA81-2FE5BBE116A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10766478" y="6456530"/>
            <a:ext cx="874800" cy="14337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6" name="Textplatzhalter 14">
            <a:extLst>
              <a:ext uri="{FF2B5EF4-FFF2-40B4-BE49-F238E27FC236}">
                <a16:creationId xmlns:a16="http://schemas.microsoft.com/office/drawing/2014/main" id="{A048FA0A-E00D-1C81-78BE-209615F842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290565" y="404813"/>
            <a:ext cx="354913" cy="293047"/>
          </a:xfrm>
          <a:blipFill>
            <a:blip r:embed="rId3"/>
            <a:srcRect/>
            <a:stretch>
              <a:fillRect l="-632" r="-632"/>
            </a:stretch>
          </a:blipFill>
        </p:spPr>
        <p:txBody>
          <a:bodyPr/>
          <a:lstStyle>
            <a:lvl1pPr marL="0">
              <a:buFontTx/>
              <a:buNone/>
              <a:defRPr>
                <a:noFill/>
              </a:defRPr>
            </a:lvl1pPr>
            <a:lvl2pPr marL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4149606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mages with Three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>
            <a:extLst>
              <a:ext uri="{FF2B5EF4-FFF2-40B4-BE49-F238E27FC236}">
                <a16:creationId xmlns:a16="http://schemas.microsoft.com/office/drawing/2014/main" id="{059DA9C3-077E-0A02-845F-85B28DF187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5360" y="-1"/>
            <a:ext cx="3024336" cy="3024000"/>
          </a:xfrm>
          <a:solidFill>
            <a:schemeClr val="tx2"/>
          </a:solidFill>
        </p:spPr>
        <p:txBody>
          <a:bodyPr wrap="none" lIns="504000" tIns="756000" anchor="t" anchorCtr="0"/>
          <a:lstStyle>
            <a:lvl1pPr>
              <a:defRPr sz="4000"/>
            </a:lvl1pPr>
          </a:lstStyle>
          <a:p>
            <a:r>
              <a:rPr lang="en-US"/>
              <a:t>Edit title mas-</a:t>
            </a:r>
            <a:br>
              <a:rPr lang="en-US"/>
            </a:br>
            <a:r>
              <a:rPr lang="en-US" err="1"/>
              <a:t>ter</a:t>
            </a:r>
            <a:r>
              <a:rPr lang="en-US"/>
              <a:t> format</a:t>
            </a:r>
            <a:br>
              <a:rPr lang="en-US"/>
            </a:br>
            <a:r>
              <a:rPr lang="en-US"/>
              <a:t>by clicking</a:t>
            </a:r>
          </a:p>
        </p:txBody>
      </p:sp>
      <p:sp>
        <p:nvSpPr>
          <p:cNvPr id="12" name="Bildplatzhalter 3">
            <a:extLst>
              <a:ext uri="{FF2B5EF4-FFF2-40B4-BE49-F238E27FC236}">
                <a16:creationId xmlns:a16="http://schemas.microsoft.com/office/drawing/2014/main" id="{3C0287FB-92B8-1ED9-40C9-0E09653381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871864" y="2564904"/>
            <a:ext cx="1800000" cy="1872008"/>
          </a:xfrm>
          <a:prstGeom prst="rect">
            <a:avLst/>
          </a:prstGeom>
          <a:noFill/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5925ED-73E6-4F46-8D72-81A464520C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DE68C1-88F0-407B-87FA-A0CDE8628D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7E78E196-587A-BC5A-F8F4-5B26C46C6E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7656000" y="0"/>
            <a:ext cx="4536000" cy="52292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182C2BE6-96C4-D8F9-E6E4-17EC33B1E5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279576" y="2780928"/>
            <a:ext cx="1800200" cy="1871992"/>
          </a:xfrm>
          <a:prstGeom prst="rect">
            <a:avLst/>
          </a:prstGeom>
          <a:noFill/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4B72B512-DCE7-2F90-FA4E-C0D8CF11E5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863560" y="4293096"/>
            <a:ext cx="1224136" cy="1368152"/>
          </a:xfrm>
          <a:prstGeom prst="rect">
            <a:avLst/>
          </a:prstGeom>
          <a:noFill/>
        </p:spPr>
        <p:txBody>
          <a:bodyPr vert="horz" wrap="square" lIns="72000" tIns="0" rIns="7200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27" name="Textplatzhalter 22">
            <a:extLst>
              <a:ext uri="{FF2B5EF4-FFF2-40B4-BE49-F238E27FC236}">
                <a16:creationId xmlns:a16="http://schemas.microsoft.com/office/drawing/2014/main" id="{35A74A43-04A1-CABC-21E0-DA4E6B5A50E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>
          <a:xfrm>
            <a:off x="4871864" y="1484784"/>
            <a:ext cx="2520000" cy="936000"/>
          </a:xfrm>
        </p:spPr>
        <p:txBody>
          <a:bodyPr anchor="b" anchorCtr="0"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8" name="Textplatzhalter 22">
            <a:extLst>
              <a:ext uri="{FF2B5EF4-FFF2-40B4-BE49-F238E27FC236}">
                <a16:creationId xmlns:a16="http://schemas.microsoft.com/office/drawing/2014/main" id="{7A14A73B-AC4E-C6A7-78F0-D26A064E31D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 bwMode="gray">
          <a:xfrm>
            <a:off x="550863" y="4797152"/>
            <a:ext cx="2520000" cy="936000"/>
          </a:xfrm>
        </p:spPr>
        <p:txBody>
          <a:bodyPr anchor="t" anchorCtr="0"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9" name="Textplatzhalter 22">
            <a:extLst>
              <a:ext uri="{FF2B5EF4-FFF2-40B4-BE49-F238E27FC236}">
                <a16:creationId xmlns:a16="http://schemas.microsoft.com/office/drawing/2014/main" id="{06D12583-940A-01DE-49DF-AB903BE163F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>
          <a:xfrm>
            <a:off x="5231904" y="4725144"/>
            <a:ext cx="2160008" cy="1152000"/>
          </a:xfrm>
        </p:spPr>
        <p:txBody>
          <a:bodyPr anchor="t" anchorCtr="0"/>
          <a:lstStyle>
            <a:lvl1pPr>
              <a:spcAft>
                <a:spcPts val="300"/>
              </a:spcAft>
              <a:defRPr sz="1400" cap="none" baseline="0"/>
            </a:lvl1pPr>
            <a:lvl2pPr>
              <a:spcAft>
                <a:spcPts val="300"/>
              </a:spcAft>
              <a:defRPr sz="1400"/>
            </a:lvl2pPr>
            <a:lvl3pPr marL="180000" indent="-180000">
              <a:spcAft>
                <a:spcPts val="300"/>
              </a:spcAft>
              <a:defRPr sz="1200"/>
            </a:lvl3pPr>
            <a:lvl4pPr marL="360000" indent="-180000">
              <a:spcAft>
                <a:spcPts val="300"/>
              </a:spcAft>
              <a:defRPr sz="1100"/>
            </a:lvl4pPr>
            <a:lvl5pPr marL="540000" indent="-180000">
              <a:spcAft>
                <a:spcPts val="300"/>
              </a:spcAft>
              <a:buFont typeface="Arial" panose="020B0604020202020204" pitchFamily="34" charset="0"/>
              <a:buChar char="•"/>
              <a:defRPr sz="1100"/>
            </a:lvl5pPr>
            <a:lvl6pPr marL="720000" indent="-180000">
              <a:spcAft>
                <a:spcPts val="300"/>
              </a:spcAft>
              <a:defRPr sz="1100"/>
            </a:lvl6pPr>
            <a:lvl7pPr marL="900000" indent="-180000">
              <a:spcAft>
                <a:spcPts val="300"/>
              </a:spcAft>
              <a:defRPr sz="1100"/>
            </a:lvl7pPr>
            <a:lvl8pPr marL="1080000" indent="-180000">
              <a:spcAft>
                <a:spcPts val="300"/>
              </a:spcAft>
              <a:defRPr sz="1100"/>
            </a:lvl8pPr>
            <a:lvl9pPr marL="1260000" indent="-180000">
              <a:spcAft>
                <a:spcPts val="300"/>
              </a:spcAft>
              <a:defRPr sz="11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B8685780-56D1-9950-5ECF-05431BD729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290565" y="404813"/>
            <a:ext cx="354913" cy="293047"/>
          </a:xfrm>
          <a:blipFill>
            <a:blip r:embed="rId2"/>
            <a:srcRect/>
            <a:stretch>
              <a:fillRect l="-632" r="-632"/>
            </a:stretch>
          </a:blipFill>
        </p:spPr>
        <p:txBody>
          <a:bodyPr/>
          <a:lstStyle>
            <a:lvl1pPr marL="0">
              <a:buFontTx/>
              <a:buNone/>
              <a:defRPr>
                <a:noFill/>
              </a:defRPr>
            </a:lvl1pPr>
            <a:lvl2pPr marL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857652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fidentiality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151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8F822D62-1C8F-4B44-8A98-E65C2FBB0CE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52450" y="2421000"/>
            <a:ext cx="11087550" cy="43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8800" b="1" kern="1200" cap="all" baseline="0">
                <a:solidFill>
                  <a:schemeClr val="tx1"/>
                </a:solidFill>
                <a:latin typeface="+mj-lt"/>
                <a:ea typeface="+mj-ea"/>
                <a:cs typeface="Segoe UI Light" panose="020B0502040204020203" pitchFamily="34" charset="0"/>
              </a:defRPr>
            </a:lvl1pPr>
          </a:lstStyle>
          <a:p>
            <a:r>
              <a:rPr lang="en-US" sz="2000">
                <a:solidFill>
                  <a:srgbClr val="A70532"/>
                </a:solidFill>
              </a:rPr>
              <a:t>Confidentiality Notice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02034C74-784A-4B74-9349-9438F05BC9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52450" y="2925000"/>
            <a:ext cx="11087550" cy="1512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8800" b="1" kern="1200" cap="all" baseline="0">
                <a:solidFill>
                  <a:schemeClr val="tx1"/>
                </a:solidFill>
                <a:latin typeface="+mj-lt"/>
                <a:ea typeface="+mj-ea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000" b="0" cap="none">
                <a:solidFill>
                  <a:srgbClr val="A70532"/>
                </a:solidFill>
                <a:latin typeface="+mn-lt"/>
              </a:rPr>
              <a:t>This document contains confidential information which is legally privileged.</a:t>
            </a:r>
          </a:p>
          <a:p>
            <a:pPr>
              <a:lnSpc>
                <a:spcPct val="100000"/>
              </a:lnSpc>
            </a:pPr>
            <a:r>
              <a:rPr lang="en-US" sz="2000" b="0" cap="none">
                <a:solidFill>
                  <a:srgbClr val="A70532"/>
                </a:solidFill>
                <a:latin typeface="+mn-lt"/>
              </a:rPr>
              <a:t>The information is proprietary to Beiersdorf AG. Any disclosure, use, copying or distribution</a:t>
            </a:r>
            <a:br>
              <a:rPr lang="en-US" sz="2000" b="0" cap="none">
                <a:solidFill>
                  <a:srgbClr val="A70532"/>
                </a:solidFill>
                <a:latin typeface="+mn-lt"/>
              </a:rPr>
            </a:br>
            <a:r>
              <a:rPr lang="en-US" sz="2000" b="0" cap="none">
                <a:solidFill>
                  <a:srgbClr val="A70532"/>
                </a:solidFill>
                <a:latin typeface="+mn-lt"/>
              </a:rPr>
              <a:t>of the contents of this document, in whole or part, is strictly prohibited without the written permission of Beiersdorf AG.</a:t>
            </a:r>
          </a:p>
        </p:txBody>
      </p:sp>
    </p:spTree>
    <p:extLst>
      <p:ext uri="{BB962C8B-B14F-4D97-AF65-F5344CB8AC3E}">
        <p14:creationId xmlns:p14="http://schemas.microsoft.com/office/powerpoint/2010/main" val="214587291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Picture with Keyfac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CC4F6E3-7E19-47A9-AED1-9B1AF36482A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lang="en-GB" sz="1100" i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6140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982909" y="3501008"/>
            <a:ext cx="4681043" cy="1656000"/>
          </a:xfrm>
        </p:spPr>
        <p:txBody>
          <a:bodyPr wrap="square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600" cap="all" baseline="0"/>
            </a:lvl1pPr>
          </a:lstStyle>
          <a:p>
            <a:r>
              <a:rPr lang="en-US" noProof="0"/>
              <a:t>Edit here</a:t>
            </a:r>
            <a:br>
              <a:rPr lang="en-US" noProof="0"/>
            </a:br>
            <a:r>
              <a:rPr lang="en-US" noProof="0"/>
              <a:t>text max.</a:t>
            </a:r>
            <a:br>
              <a:rPr lang="en-US" noProof="0"/>
            </a:br>
            <a:r>
              <a:rPr lang="en-US" noProof="0"/>
              <a:t>4 lines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1055E45-5739-4D6A-A8EA-A8996E19E56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0766478" y="6456530"/>
            <a:ext cx="874800" cy="143370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7100F2B5-5EA0-4808-852D-22CAA7A8183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055441" y="6453352"/>
            <a:ext cx="3815942" cy="144000"/>
          </a:xfrm>
        </p:spPr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9D8D78D2-3114-4C1B-91A6-F2285CCE15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1384" y="6453352"/>
            <a:ext cx="504056" cy="144000"/>
          </a:xfrm>
        </p:spPr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47CC5BE9-3B37-E6FF-E5F5-DC094971F5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290565" y="404813"/>
            <a:ext cx="354913" cy="293047"/>
          </a:xfrm>
          <a:blipFill>
            <a:blip r:embed="rId7"/>
            <a:srcRect/>
            <a:stretch>
              <a:fillRect l="-632" r="-632"/>
            </a:stretch>
          </a:blipFill>
        </p:spPr>
        <p:txBody>
          <a:bodyPr/>
          <a:lstStyle>
            <a:lvl1pPr marL="0">
              <a:buFontTx/>
              <a:buNone/>
              <a:defRPr>
                <a:noFill/>
              </a:defRPr>
            </a:lvl1pPr>
            <a:lvl2pPr marL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73205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Picture with Keyfac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CC4F6E3-7E19-47A9-AED1-9B1AF36482A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lang="en-GB" sz="1100" i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5419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982910" y="3501008"/>
            <a:ext cx="4680000" cy="1656000"/>
          </a:xfrm>
        </p:spPr>
        <p:txBody>
          <a:bodyPr wrap="square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6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Edit here</a:t>
            </a:r>
            <a:br>
              <a:rPr lang="en-US" noProof="0"/>
            </a:br>
            <a:r>
              <a:rPr lang="en-US" noProof="0"/>
              <a:t>text max.</a:t>
            </a:r>
            <a:br>
              <a:rPr lang="en-US" noProof="0"/>
            </a:br>
            <a:r>
              <a:rPr lang="en-US" noProof="0"/>
              <a:t>4 lines</a:t>
            </a:r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513D2D51-418E-482C-8EE6-CC4EF123D8C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10766478" y="6455900"/>
            <a:ext cx="874800" cy="144000"/>
          </a:xfrm>
          <a:prstGeom prst="rect">
            <a:avLst/>
          </a:prstGeom>
          <a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 contras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C715AD99-957A-4F7A-A4D2-1A0F296BD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1055441" y="6453352"/>
            <a:ext cx="3815942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6. Anwendertreffen - Keynote ITO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FF167947-E3E9-42EE-B2D2-13627334CE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551384" y="6453352"/>
            <a:ext cx="504056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9A0A4829-0618-AAF0-CBDA-5EE7024DC7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290565" y="404813"/>
            <a:ext cx="354913" cy="293047"/>
          </a:xfrm>
          <a:blipFill>
            <a:blip r:embed="rId8"/>
            <a:srcRect/>
            <a:stretch>
              <a:fillRect l="-632" r="-632"/>
            </a:stretch>
          </a:blipFill>
        </p:spPr>
        <p:txBody>
          <a:bodyPr/>
          <a:lstStyle>
            <a:lvl1pPr marL="0">
              <a:buFontTx/>
              <a:buNone/>
              <a:defRPr>
                <a:noFill/>
              </a:defRPr>
            </a:lvl1pPr>
            <a:lvl2pPr marL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906300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with Full Im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CC4F6E3-7E19-47A9-AED1-9B1AF36482A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algn="ctr">
              <a:defRPr lang="en-GB" sz="1100" i="1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900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50862" y="1011600"/>
            <a:ext cx="5688000" cy="1296000"/>
          </a:xfrm>
        </p:spPr>
        <p:txBody>
          <a:bodyPr wrap="square" anchor="t" anchorCtr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sz="11500" cap="all" baseline="0"/>
            </a:lvl1pPr>
          </a:lstStyle>
          <a:p>
            <a:r>
              <a:rPr lang="en-US" noProof="0"/>
              <a:t>Thank You 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1055E45-5739-4D6A-A8EA-A8996E19E56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550862" y="5431288"/>
            <a:ext cx="3600000" cy="590000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5D563CD5-5689-156D-091F-61E36A90EE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290565" y="404813"/>
            <a:ext cx="354913" cy="293047"/>
          </a:xfrm>
          <a:blipFill>
            <a:blip r:embed="rId7"/>
            <a:srcRect/>
            <a:stretch>
              <a:fillRect l="-632" r="-632"/>
            </a:stretch>
          </a:blipFill>
        </p:spPr>
        <p:txBody>
          <a:bodyPr/>
          <a:lstStyle>
            <a:lvl1pPr marL="0">
              <a:buFontTx/>
              <a:buNone/>
              <a:defRPr>
                <a:noFill/>
              </a:defRPr>
            </a:lvl1pPr>
            <a:lvl2pPr marL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115057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with Full Im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8CC4F6E3-7E19-47A9-AED1-9B1AF36482A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</p:spPr>
        <p:txBody>
          <a:bodyPr wrap="square" anchor="ctr" anchorCtr="0">
            <a:noAutofit/>
          </a:bodyPr>
          <a:lstStyle>
            <a:lvl1pPr algn="ctr">
              <a:defRPr sz="1100" i="1">
                <a:solidFill>
                  <a:schemeClr val="bg2"/>
                </a:solidFill>
              </a:defRPr>
            </a:lvl1pPr>
          </a:lstStyle>
          <a:p>
            <a:r>
              <a:rPr lang="en-US"/>
              <a:t>Add image by clicking on symbol</a:t>
            </a: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8604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1055E45-5739-4D6A-A8EA-A8996E19E56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550862" y="5431287"/>
            <a:ext cx="3600000" cy="590001"/>
          </a:xfrm>
          <a:prstGeom prst="rect">
            <a:avLst/>
          </a:prstGeom>
          <a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 contras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35BA2B71-95AC-4704-AD78-E8A630A7E2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0862" y="1009756"/>
            <a:ext cx="5688000" cy="1296000"/>
          </a:xfrm>
        </p:spPr>
        <p:txBody>
          <a:bodyPr wrap="square" anchor="t" anchorCtr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sz="115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hank You 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61BD0DD3-D1D2-0E48-B757-E1456683B7F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290565" y="404813"/>
            <a:ext cx="354913" cy="293047"/>
          </a:xfrm>
          <a:blipFill>
            <a:blip r:embed="rId8"/>
            <a:srcRect/>
            <a:stretch>
              <a:fillRect l="-632" r="-632"/>
            </a:stretch>
          </a:blipFill>
        </p:spPr>
        <p:txBody>
          <a:bodyPr/>
          <a:lstStyle>
            <a:lvl1pPr marL="0">
              <a:buFontTx/>
              <a:buNone/>
              <a:defRPr>
                <a:noFill/>
              </a:defRPr>
            </a:lvl1pPr>
            <a:lvl2pPr marL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845056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+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573FEEDE-B5F7-474B-A522-6D25B7EA96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2450" y="2169000"/>
            <a:ext cx="5399088" cy="2520000"/>
          </a:xfrm>
        </p:spPr>
        <p:txBody>
          <a:bodyPr wrap="square" anchor="ctr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800" cap="all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</a:t>
            </a:r>
            <a:br>
              <a:rPr lang="en-US" noProof="0"/>
            </a:br>
            <a:r>
              <a:rPr lang="en-US" noProof="0"/>
              <a:t>NAME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EB5CE3B6-1769-4A81-9D8E-1387F3B6FCD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720000" y="0"/>
            <a:ext cx="547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266908021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1048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EFA26D4E-C1E8-4DB9-96FB-5DF2FB106A9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453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ED00329B-A6AF-4E70-8158-3764BBE15B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268000" y="2781000"/>
            <a:ext cx="6120000" cy="1656000"/>
          </a:xfrm>
        </p:spPr>
        <p:txBody>
          <a:bodyPr wrap="square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500" cap="all" baseline="0"/>
            </a:lvl1pPr>
          </a:lstStyle>
          <a:p>
            <a:r>
              <a:rPr lang="en-US" noProof="0"/>
              <a:t>Thank You </a:t>
            </a:r>
            <a:br>
              <a:rPr lang="en-US" noProof="0"/>
            </a:br>
            <a:r>
              <a:rPr lang="en-US" noProof="0"/>
              <a:t>MAX. 2 lines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AD44C69-F5BE-4781-9E84-27F85F19CA7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5268000" y="5428346"/>
            <a:ext cx="3600000" cy="592942"/>
          </a:xfrm>
          <a:prstGeom prst="rect">
            <a:avLst/>
          </a:prstGeom>
        </p:spPr>
      </p:pic>
      <p:pic>
        <p:nvPicPr>
          <p:cNvPr id="2" name="Grafik 1" descr="Ein Bild, das Logo, Grafiken, Grafikdesign, Schrift enthält.&#10;&#10;Automatisch generierte Beschreibung">
            <a:extLst>
              <a:ext uri="{FF2B5EF4-FFF2-40B4-BE49-F238E27FC236}">
                <a16:creationId xmlns:a16="http://schemas.microsoft.com/office/drawing/2014/main" id="{1B063C2B-C6F6-363E-4E0E-900B914886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2916" t="26909" r="12916" b="30051"/>
          <a:stretch/>
        </p:blipFill>
        <p:spPr bwMode="gray">
          <a:xfrm>
            <a:off x="5268000" y="385537"/>
            <a:ext cx="393700" cy="322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996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+ Full Image, whit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3">
            <a:extLst>
              <a:ext uri="{FF2B5EF4-FFF2-40B4-BE49-F238E27FC236}">
                <a16:creationId xmlns:a16="http://schemas.microsoft.com/office/drawing/2014/main" id="{EB5CE3B6-1769-4A81-9D8E-1387F3B6FCD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73FEEDE-B5F7-474B-A522-6D25B7EA96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2450" y="5085184"/>
            <a:ext cx="11088828" cy="936000"/>
          </a:xfrm>
        </p:spPr>
        <p:txBody>
          <a:bodyPr wrap="square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8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NAME</a:t>
            </a:r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A3FFBAEE-3F7B-4331-1B21-B576895FE8F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0766478" y="6456530"/>
            <a:ext cx="874800" cy="143370"/>
          </a:xfrm>
          <a:prstGeom prst="rect">
            <a:avLst/>
          </a:pr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30DCB4D-56D0-40F1-C61B-916C53266F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4077072"/>
            <a:ext cx="11088687" cy="864096"/>
          </a:xfrm>
        </p:spPr>
        <p:txBody>
          <a:bodyPr anchor="b"/>
          <a:lstStyle>
            <a:lvl1pPr>
              <a:defRPr sz="4800" b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4800" cap="all" baseline="0">
                <a:solidFill>
                  <a:schemeClr val="bg1"/>
                </a:solidFill>
              </a:defRPr>
            </a:lvl2pPr>
            <a:lvl3pPr marL="0" indent="0">
              <a:buNone/>
              <a:defRPr sz="4800" cap="all" baseline="0">
                <a:solidFill>
                  <a:schemeClr val="bg1"/>
                </a:solidFill>
              </a:defRPr>
            </a:lvl3pPr>
            <a:lvl4pPr marL="0" indent="0">
              <a:buNone/>
              <a:defRPr sz="4800" cap="all" baseline="0">
                <a:solidFill>
                  <a:schemeClr val="bg1"/>
                </a:solidFill>
              </a:defRPr>
            </a:lvl4pPr>
            <a:lvl5pPr marL="0" indent="0">
              <a:buNone/>
              <a:defRPr sz="4800" cap="all" baseline="0">
                <a:solidFill>
                  <a:schemeClr val="bg1"/>
                </a:solidFill>
              </a:defRPr>
            </a:lvl5pPr>
            <a:lvl6pPr marL="0" indent="0">
              <a:buNone/>
              <a:defRPr sz="4800" cap="all" baseline="0">
                <a:solidFill>
                  <a:schemeClr val="bg1"/>
                </a:solidFill>
              </a:defRPr>
            </a:lvl6pPr>
            <a:lvl7pPr marL="0" indent="0">
              <a:buNone/>
              <a:defRPr sz="4800" cap="all" baseline="0">
                <a:solidFill>
                  <a:schemeClr val="bg1"/>
                </a:solidFill>
              </a:defRPr>
            </a:lvl7pPr>
            <a:lvl8pPr marL="0" indent="0">
              <a:buNone/>
              <a:defRPr sz="4800" cap="all" baseline="0">
                <a:solidFill>
                  <a:schemeClr val="bg1"/>
                </a:solidFill>
              </a:defRPr>
            </a:lvl8pPr>
            <a:lvl9pPr marL="0" indent="0">
              <a:buNone/>
              <a:defRPr sz="48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HAPTER NAME</a:t>
            </a:r>
          </a:p>
        </p:txBody>
      </p:sp>
    </p:spTree>
    <p:extLst>
      <p:ext uri="{BB962C8B-B14F-4D97-AF65-F5344CB8AC3E}">
        <p14:creationId xmlns:p14="http://schemas.microsoft.com/office/powerpoint/2010/main" val="39959147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+ Full Image, white_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3">
            <a:extLst>
              <a:ext uri="{FF2B5EF4-FFF2-40B4-BE49-F238E27FC236}">
                <a16:creationId xmlns:a16="http://schemas.microsoft.com/office/drawing/2014/main" id="{EB5CE3B6-1769-4A81-9D8E-1387F3B6FCD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73FEEDE-B5F7-474B-A522-6D25B7EA96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2450" y="5085184"/>
            <a:ext cx="11088828" cy="936000"/>
          </a:xfrm>
        </p:spPr>
        <p:txBody>
          <a:bodyPr wrap="square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8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pter NAME</a:t>
            </a:r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A3FFBAEE-3F7B-4331-1B21-B576895FE8F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0766478" y="6456530"/>
            <a:ext cx="874800" cy="143370"/>
          </a:xfrm>
          <a:prstGeom prst="rect">
            <a:avLst/>
          </a:pr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30DCB4D-56D0-40F1-C61B-916C53266F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4077072"/>
            <a:ext cx="11088687" cy="864096"/>
          </a:xfrm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4800" b="0" cap="all" baseline="0">
                <a:solidFill>
                  <a:schemeClr val="bg1"/>
                </a:solidFill>
                <a:latin typeface="+mn-lt"/>
              </a:defRPr>
            </a:lvl1pPr>
            <a:lvl2pPr marL="0" indent="0" algn="r">
              <a:buFont typeface="Arial" panose="020B0604020202020204" pitchFamily="34" charset="0"/>
              <a:buNone/>
              <a:defRPr sz="4800" cap="all" baseline="0">
                <a:solidFill>
                  <a:schemeClr val="bg1"/>
                </a:solidFill>
              </a:defRPr>
            </a:lvl2pPr>
            <a:lvl3pPr marL="0" indent="0" algn="r">
              <a:buNone/>
              <a:defRPr sz="4800" cap="all" baseline="0">
                <a:solidFill>
                  <a:schemeClr val="bg1"/>
                </a:solidFill>
              </a:defRPr>
            </a:lvl3pPr>
            <a:lvl4pPr marL="0" indent="0" algn="r">
              <a:buNone/>
              <a:defRPr sz="4800" cap="all" baseline="0">
                <a:solidFill>
                  <a:schemeClr val="bg1"/>
                </a:solidFill>
              </a:defRPr>
            </a:lvl4pPr>
            <a:lvl5pPr marL="0" indent="0" algn="r">
              <a:buNone/>
              <a:defRPr sz="4800" cap="all" baseline="0">
                <a:solidFill>
                  <a:schemeClr val="bg1"/>
                </a:solidFill>
              </a:defRPr>
            </a:lvl5pPr>
            <a:lvl6pPr marL="0" indent="0" algn="r">
              <a:buNone/>
              <a:defRPr sz="4800" cap="all" baseline="0">
                <a:solidFill>
                  <a:schemeClr val="bg1"/>
                </a:solidFill>
              </a:defRPr>
            </a:lvl6pPr>
            <a:lvl7pPr marL="0" indent="0" algn="r">
              <a:buNone/>
              <a:defRPr sz="4800" cap="all" baseline="0">
                <a:solidFill>
                  <a:schemeClr val="bg1"/>
                </a:solidFill>
              </a:defRPr>
            </a:lvl7pPr>
            <a:lvl8pPr marL="0" indent="0" algn="r">
              <a:buNone/>
              <a:defRPr sz="4800" cap="all" baseline="0">
                <a:solidFill>
                  <a:schemeClr val="bg1"/>
                </a:solidFill>
              </a:defRPr>
            </a:lvl8pPr>
            <a:lvl9pPr marL="0" indent="0" algn="r">
              <a:buNone/>
              <a:defRPr sz="48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HAPTER NAME</a:t>
            </a:r>
          </a:p>
        </p:txBody>
      </p:sp>
    </p:spTree>
    <p:extLst>
      <p:ext uri="{BB962C8B-B14F-4D97-AF65-F5344CB8AC3E}">
        <p14:creationId xmlns:p14="http://schemas.microsoft.com/office/powerpoint/2010/main" val="41677703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+ Full Image, blu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3">
            <a:extLst>
              <a:ext uri="{FF2B5EF4-FFF2-40B4-BE49-F238E27FC236}">
                <a16:creationId xmlns:a16="http://schemas.microsoft.com/office/drawing/2014/main" id="{EB5CE3B6-1769-4A81-9D8E-1387F3B6FCD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720000" rtlCol="0" anchor="ctr" anchorCtr="0">
            <a:noAutofit/>
          </a:bodyPr>
          <a:lstStyle>
            <a:lvl1pPr algn="ctr">
              <a:defRPr lang="en-US" sz="1100" i="1" dirty="0" smtClean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/>
              <a:t>Add image by clicking on symbol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73FEEDE-B5F7-474B-A522-6D25B7EA96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2450" y="5085184"/>
            <a:ext cx="11088828" cy="936000"/>
          </a:xfrm>
        </p:spPr>
        <p:txBody>
          <a:bodyPr wrap="square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800" cap="all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NAME</a:t>
            </a:r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A3FFBAEE-3F7B-4331-1B21-B576895FE8F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0766478" y="6456530"/>
            <a:ext cx="874800" cy="14337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30DCB4D-56D0-40F1-C61B-916C53266F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4077072"/>
            <a:ext cx="11088687" cy="864096"/>
          </a:xfrm>
        </p:spPr>
        <p:txBody>
          <a:bodyPr anchor="b"/>
          <a:lstStyle>
            <a:lvl1pPr>
              <a:defRPr sz="4800" b="0">
                <a:solidFill>
                  <a:schemeClr val="tx1"/>
                </a:solidFill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4800" cap="all" baseline="0">
                <a:solidFill>
                  <a:schemeClr val="tx1"/>
                </a:solidFill>
              </a:defRPr>
            </a:lvl2pPr>
            <a:lvl3pPr marL="0" indent="0">
              <a:buNone/>
              <a:defRPr sz="4800" cap="all" baseline="0">
                <a:solidFill>
                  <a:schemeClr val="tx1"/>
                </a:solidFill>
              </a:defRPr>
            </a:lvl3pPr>
            <a:lvl4pPr marL="0" indent="0">
              <a:buNone/>
              <a:defRPr sz="4800" cap="all" baseline="0">
                <a:solidFill>
                  <a:schemeClr val="tx1"/>
                </a:solidFill>
              </a:defRPr>
            </a:lvl4pPr>
            <a:lvl5pPr marL="0" indent="0">
              <a:buNone/>
              <a:defRPr sz="4800" cap="all" baseline="0">
                <a:solidFill>
                  <a:schemeClr val="tx1"/>
                </a:solidFill>
              </a:defRPr>
            </a:lvl5pPr>
            <a:lvl6pPr marL="0" indent="0">
              <a:buNone/>
              <a:defRPr sz="4800" cap="all" baseline="0">
                <a:solidFill>
                  <a:schemeClr val="tx1"/>
                </a:solidFill>
              </a:defRPr>
            </a:lvl6pPr>
            <a:lvl7pPr marL="0" indent="0">
              <a:buNone/>
              <a:defRPr sz="4800" cap="all" baseline="0">
                <a:solidFill>
                  <a:schemeClr val="tx1"/>
                </a:solidFill>
              </a:defRPr>
            </a:lvl7pPr>
            <a:lvl8pPr marL="0" indent="0">
              <a:buNone/>
              <a:defRPr sz="4800" cap="all" baseline="0">
                <a:solidFill>
                  <a:schemeClr val="tx1"/>
                </a:solidFill>
              </a:defRPr>
            </a:lvl8pPr>
            <a:lvl9pPr marL="0" indent="0">
              <a:buNone/>
              <a:defRPr sz="480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HAPTER NAME</a:t>
            </a:r>
          </a:p>
        </p:txBody>
      </p:sp>
    </p:spTree>
    <p:extLst>
      <p:ext uri="{BB962C8B-B14F-4D97-AF65-F5344CB8AC3E}">
        <p14:creationId xmlns:p14="http://schemas.microsoft.com/office/powerpoint/2010/main" val="39348222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61" Type="http://schemas.openxmlformats.org/officeDocument/2006/relationships/theme" Target="../theme/theme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image" Target="../media/image3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761790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4" imgW="344" imgH="345" progId="TCLayout.ActiveDocument.1">
                  <p:embed/>
                </p:oleObj>
              </mc:Choice>
              <mc:Fallback>
                <p:oleObj name="think-cell Folie" r:id="rId64" imgW="344" imgH="345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6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Yu Gothic Light" panose="020B0300000000000000" pitchFamily="34" charset="-128"/>
              <a:ea typeface="+mj-ea"/>
              <a:cs typeface="+mj-cs"/>
              <a:sym typeface="Yu Gothic Light" panose="020B0300000000000000" pitchFamily="34" charset="-128"/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gray">
          <a:xfrm>
            <a:off x="552450" y="405000"/>
            <a:ext cx="8639550" cy="792000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en-US" noProof="0"/>
              <a:t>Edit title master format by clicking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10CBCC9-1A98-4604-86A3-86531836AC6C}"/>
              </a:ext>
            </a:extLst>
          </p:cNvPr>
          <p:cNvPicPr>
            <a:picLocks noChangeAspect="1"/>
          </p:cNvPicPr>
          <p:nvPr userDrawn="1"/>
        </p:nvPicPr>
        <p:blipFill>
          <a:blip r:embed="rId66"/>
          <a:stretch>
            <a:fillRect/>
          </a:stretch>
        </p:blipFill>
        <p:spPr bwMode="gray">
          <a:xfrm>
            <a:off x="10766994" y="6455900"/>
            <a:ext cx="874284" cy="144000"/>
          </a:xfrm>
          <a:prstGeom prst="rect">
            <a:avLst/>
          </a:prstGeom>
        </p:spPr>
      </p:pic>
      <p:sp>
        <p:nvSpPr>
          <p:cNvPr id="60" name="Fußzeilenplatzhalter 15">
            <a:extLst>
              <a:ext uri="{FF2B5EF4-FFF2-40B4-BE49-F238E27FC236}">
                <a16:creationId xmlns:a16="http://schemas.microsoft.com/office/drawing/2014/main" id="{B0CB5F1B-9BD5-4040-B00B-1DE3ADD10BBF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 bwMode="gray">
          <a:xfrm>
            <a:off x="1055441" y="6453352"/>
            <a:ext cx="3815942" cy="144000"/>
          </a:xfrm>
          <a:prstGeom prst="rect">
            <a:avLst/>
          </a:prstGeom>
        </p:spPr>
        <p:txBody>
          <a:bodyPr vert="horz" wrap="square" lIns="0" tIns="21600" rIns="0" bIns="0" rtlCol="0" anchor="t">
            <a:noAutofit/>
          </a:bodyPr>
          <a:lstStyle>
            <a:lvl1pPr>
              <a:defRPr lang="en-US" sz="800" b="0" dirty="0">
                <a:solidFill>
                  <a:schemeClr val="tx1"/>
                </a:solidFill>
                <a:latin typeface="Avenir 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en-US"/>
              <a:t>6. Anwendertreffen - Keynote ITO</a:t>
            </a:r>
          </a:p>
        </p:txBody>
      </p:sp>
      <p:sp>
        <p:nvSpPr>
          <p:cNvPr id="61" name="Foliennummernplatzhalter 16">
            <a:extLst>
              <a:ext uri="{FF2B5EF4-FFF2-40B4-BE49-F238E27FC236}">
                <a16:creationId xmlns:a16="http://schemas.microsoft.com/office/drawing/2014/main" id="{9377B25B-FC17-416A-B851-04075EC63664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552450" y="6453352"/>
            <a:ext cx="502990" cy="144000"/>
          </a:xfrm>
          <a:prstGeom prst="rect">
            <a:avLst/>
          </a:prstGeom>
        </p:spPr>
        <p:txBody>
          <a:bodyPr vert="horz" wrap="square" lIns="0" tIns="21600" rIns="0" bIns="0" rtlCol="0" anchor="t">
            <a:noAutofit/>
          </a:bodyPr>
          <a:lstStyle>
            <a:lvl1pPr>
              <a:defRPr lang="de-DE" sz="800" b="0" smtClean="0">
                <a:solidFill>
                  <a:schemeClr val="tx1"/>
                </a:solidFill>
                <a:latin typeface="Avenir Next LT Pro Light" panose="020B0304020202020204" pitchFamily="34" charset="0"/>
                <a:ea typeface="Yu Gothic" panose="020B0400000000000000" pitchFamily="34" charset="-128"/>
              </a:defRPr>
            </a:lvl1pPr>
          </a:lstStyle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A467666B-FCBF-44C0-AEC1-F17B52BB369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52450" y="1484313"/>
            <a:ext cx="11086484" cy="453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Ebene</a:t>
            </a:r>
          </a:p>
          <a:p>
            <a:pPr lvl="3"/>
            <a:r>
              <a:rPr lang="en-US"/>
              <a:t>Fourth Ebene</a:t>
            </a:r>
          </a:p>
          <a:p>
            <a:pPr lvl="4"/>
            <a:r>
              <a:rPr lang="en-US"/>
              <a:t>Fifth Ebene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9B7FA623-3AAE-471C-B8C5-4E238615D62F}"/>
              </a:ext>
            </a:extLst>
          </p:cNvPr>
          <p:cNvCxnSpPr/>
          <p:nvPr userDrawn="1"/>
        </p:nvCxnSpPr>
        <p:spPr bwMode="gray">
          <a:xfrm>
            <a:off x="551384" y="-171392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79453FD8-40FD-4AD4-B40C-50F3A622C4AA}"/>
              </a:ext>
            </a:extLst>
          </p:cNvPr>
          <p:cNvCxnSpPr/>
          <p:nvPr userDrawn="1"/>
        </p:nvCxnSpPr>
        <p:spPr bwMode="gray">
          <a:xfrm>
            <a:off x="5951984" y="-171392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92D0B5A-C616-4F35-BEFA-B193D0D6DE4D}"/>
              </a:ext>
            </a:extLst>
          </p:cNvPr>
          <p:cNvCxnSpPr/>
          <p:nvPr userDrawn="1"/>
        </p:nvCxnSpPr>
        <p:spPr bwMode="gray">
          <a:xfrm>
            <a:off x="6240016" y="-171392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90E31121-4623-4106-88E1-7E9085DCA959}"/>
              </a:ext>
            </a:extLst>
          </p:cNvPr>
          <p:cNvCxnSpPr/>
          <p:nvPr userDrawn="1"/>
        </p:nvCxnSpPr>
        <p:spPr bwMode="gray">
          <a:xfrm>
            <a:off x="11640616" y="-171392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0E1B6597-4FE5-46A5-AE97-FA7C5A7512BE}"/>
              </a:ext>
            </a:extLst>
          </p:cNvPr>
          <p:cNvCxnSpPr>
            <a:cxnSpLocks/>
          </p:cNvCxnSpPr>
          <p:nvPr userDrawn="1"/>
        </p:nvCxnSpPr>
        <p:spPr bwMode="gray">
          <a:xfrm rot="5400000" flipV="1">
            <a:off x="-96700" y="1449000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C5FA598A-D71A-435E-9B25-8A576B9DCCBD}"/>
              </a:ext>
            </a:extLst>
          </p:cNvPr>
          <p:cNvCxnSpPr/>
          <p:nvPr userDrawn="1"/>
        </p:nvCxnSpPr>
        <p:spPr bwMode="gray">
          <a:xfrm rot="5400000" flipV="1">
            <a:off x="-96700" y="5985000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 descr="Ein Bild, das Logo, Grafiken, Grafikdesign, Schrift enthält.&#10;&#10;Automatisch generierte Beschreibung">
            <a:extLst>
              <a:ext uri="{FF2B5EF4-FFF2-40B4-BE49-F238E27FC236}">
                <a16:creationId xmlns:a16="http://schemas.microsoft.com/office/drawing/2014/main" id="{D4766CD2-0B76-BDA6-0D0B-80EFA47C25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7"/>
          <a:srcRect l="12916" t="26909" r="12916" b="30051"/>
          <a:stretch/>
        </p:blipFill>
        <p:spPr bwMode="gray">
          <a:xfrm>
            <a:off x="11269663" y="390299"/>
            <a:ext cx="393700" cy="322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070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13" r:id="rId2"/>
    <p:sldLayoutId id="2147483729" r:id="rId3"/>
    <p:sldLayoutId id="2147483730" r:id="rId4"/>
    <p:sldLayoutId id="2147483718" r:id="rId5"/>
    <p:sldLayoutId id="2147483719" r:id="rId6"/>
    <p:sldLayoutId id="2147483754" r:id="rId7"/>
    <p:sldLayoutId id="2147483759" r:id="rId8"/>
    <p:sldLayoutId id="2147483760" r:id="rId9"/>
    <p:sldLayoutId id="2147483761" r:id="rId10"/>
    <p:sldLayoutId id="2147483670" r:id="rId11"/>
    <p:sldLayoutId id="2147483740" r:id="rId12"/>
    <p:sldLayoutId id="2147483737" r:id="rId13"/>
    <p:sldLayoutId id="2147483739" r:id="rId14"/>
    <p:sldLayoutId id="2147483749" r:id="rId15"/>
    <p:sldLayoutId id="2147483743" r:id="rId16"/>
    <p:sldLayoutId id="2147483744" r:id="rId17"/>
    <p:sldLayoutId id="2147483747" r:id="rId18"/>
    <p:sldLayoutId id="2147483745" r:id="rId19"/>
    <p:sldLayoutId id="2147483746" r:id="rId20"/>
    <p:sldLayoutId id="2147483750" r:id="rId21"/>
    <p:sldLayoutId id="2147483751" r:id="rId22"/>
    <p:sldLayoutId id="2147483752" r:id="rId23"/>
    <p:sldLayoutId id="2147483748" r:id="rId24"/>
    <p:sldLayoutId id="2147483734" r:id="rId25"/>
    <p:sldLayoutId id="2147483741" r:id="rId26"/>
    <p:sldLayoutId id="2147483742" r:id="rId27"/>
    <p:sldLayoutId id="2147483731" r:id="rId28"/>
    <p:sldLayoutId id="2147483732" r:id="rId29"/>
    <p:sldLayoutId id="2147483733" r:id="rId30"/>
    <p:sldLayoutId id="2147483791" r:id="rId31"/>
    <p:sldLayoutId id="2147483792" r:id="rId32"/>
    <p:sldLayoutId id="2147483793" r:id="rId33"/>
    <p:sldLayoutId id="2147483794" r:id="rId34"/>
    <p:sldLayoutId id="2147483795" r:id="rId35"/>
    <p:sldLayoutId id="2147483796" r:id="rId36"/>
    <p:sldLayoutId id="2147483797" r:id="rId37"/>
    <p:sldLayoutId id="2147483798" r:id="rId38"/>
    <p:sldLayoutId id="2147483799" r:id="rId39"/>
    <p:sldLayoutId id="2147483800" r:id="rId40"/>
    <p:sldLayoutId id="2147483801" r:id="rId41"/>
    <p:sldLayoutId id="2147483802" r:id="rId42"/>
    <p:sldLayoutId id="2147483803" r:id="rId43"/>
    <p:sldLayoutId id="2147483804" r:id="rId44"/>
    <p:sldLayoutId id="2147483805" r:id="rId45"/>
    <p:sldLayoutId id="2147483806" r:id="rId46"/>
    <p:sldLayoutId id="2147483807" r:id="rId47"/>
    <p:sldLayoutId id="2147483808" r:id="rId48"/>
    <p:sldLayoutId id="2147483809" r:id="rId49"/>
    <p:sldLayoutId id="2147483810" r:id="rId50"/>
    <p:sldLayoutId id="2147483811" r:id="rId51"/>
    <p:sldLayoutId id="2147483812" r:id="rId52"/>
    <p:sldLayoutId id="2147483813" r:id="rId53"/>
    <p:sldLayoutId id="2147483814" r:id="rId54"/>
    <p:sldLayoutId id="2147483815" r:id="rId55"/>
    <p:sldLayoutId id="2147483816" r:id="rId56"/>
    <p:sldLayoutId id="2147483817" r:id="rId57"/>
    <p:sldLayoutId id="2147483818" r:id="rId58"/>
    <p:sldLayoutId id="2147483819" r:id="rId59"/>
    <p:sldLayoutId id="2147483820" r:id="rId60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 cap="all" baseline="0">
          <a:solidFill>
            <a:schemeClr val="tx1"/>
          </a:solidFill>
          <a:latin typeface="+mj-lt"/>
          <a:ea typeface="+mj-ea"/>
          <a:cs typeface="Segoe UI Light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1" kern="1200" cap="none" baseline="0">
          <a:solidFill>
            <a:schemeClr val="tx1"/>
          </a:solidFill>
          <a:latin typeface="+mj-lt"/>
          <a:ea typeface="Yu Gothic" panose="020B0400000000000000" pitchFamily="34" charset="-128"/>
          <a:cs typeface="Segoe UI Semibold" panose="020B0702040204020203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0" kern="1200" cap="none" baseline="0">
          <a:solidFill>
            <a:schemeClr val="bg2"/>
          </a:solidFill>
          <a:latin typeface="+mn-lt"/>
          <a:ea typeface="Yu Gothic" panose="020B0400000000000000" pitchFamily="34" charset="-128"/>
          <a:cs typeface="Segoe UI Semilight" panose="020B0402040204020203" pitchFamily="34" charset="0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600" b="0" kern="1200">
          <a:solidFill>
            <a:schemeClr val="bg2"/>
          </a:solidFill>
          <a:latin typeface="+mn-lt"/>
          <a:ea typeface="+mn-ea"/>
          <a:cs typeface="Segoe UI Semilight" panose="020B0402040204020203" pitchFamily="34" charset="0"/>
        </a:defRPr>
      </a:lvl3pPr>
      <a:lvl4pPr marL="432000" indent="-2159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b="0" kern="1200">
          <a:solidFill>
            <a:schemeClr val="bg2"/>
          </a:solidFill>
          <a:latin typeface="+mn-lt"/>
          <a:ea typeface="+mn-ea"/>
          <a:cs typeface="Segoe UI Semilight" panose="020B0402040204020203" pitchFamily="34" charset="0"/>
        </a:defRPr>
      </a:lvl4pPr>
      <a:lvl5pPr marL="648000" indent="-2159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b="0" kern="1200">
          <a:solidFill>
            <a:schemeClr val="bg2"/>
          </a:solidFill>
          <a:latin typeface="+mn-lt"/>
          <a:ea typeface="+mn-ea"/>
          <a:cs typeface="Segoe UI Semilight" panose="020B0402040204020203" pitchFamily="34" charset="0"/>
        </a:defRPr>
      </a:lvl5pPr>
      <a:lvl6pPr marL="864000" marR="0" indent="-2159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•"/>
        <a:tabLst/>
        <a:defRPr sz="1400" b="0" kern="1200">
          <a:solidFill>
            <a:schemeClr val="bg2"/>
          </a:solidFill>
          <a:latin typeface="+mn-lt"/>
          <a:ea typeface="+mn-ea"/>
          <a:cs typeface="Segoe UI Semilight" panose="020B0402040204020203" pitchFamily="34" charset="0"/>
        </a:defRPr>
      </a:lvl6pPr>
      <a:lvl7pPr marL="1080000" marR="0" indent="-2159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•"/>
        <a:tabLst/>
        <a:defRPr sz="1400" b="0" kern="1200">
          <a:solidFill>
            <a:schemeClr val="bg2"/>
          </a:solidFill>
          <a:latin typeface="+mn-lt"/>
          <a:ea typeface="+mn-ea"/>
          <a:cs typeface="Segoe UI Semilight" panose="020B0402040204020203" pitchFamily="34" charset="0"/>
        </a:defRPr>
      </a:lvl7pPr>
      <a:lvl8pPr marL="1296000" indent="-2159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b="0" kern="1200">
          <a:solidFill>
            <a:schemeClr val="bg2"/>
          </a:solidFill>
          <a:latin typeface="+mn-lt"/>
          <a:ea typeface="+mn-ea"/>
          <a:cs typeface="Segoe UI Semilight" panose="020B0402040204020203" pitchFamily="34" charset="0"/>
        </a:defRPr>
      </a:lvl8pPr>
      <a:lvl9pPr marL="1512000" indent="-2159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b="0" kern="1200">
          <a:solidFill>
            <a:schemeClr val="bg2"/>
          </a:solidFill>
          <a:latin typeface="+mn-lt"/>
          <a:ea typeface="+mn-ea"/>
          <a:cs typeface="Segoe UI Semilight" panose="020B0402040204020203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55" userDrawn="1">
          <p15:clr>
            <a:srgbClr val="F26B43"/>
          </p15:clr>
        </p15:guide>
        <p15:guide id="3" orient="horz" pos="935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  <p15:guide id="7" pos="347" userDrawn="1">
          <p15:clr>
            <a:srgbClr val="F26B43"/>
          </p15:clr>
        </p15:guide>
        <p15:guide id="8" pos="7332" userDrawn="1">
          <p15:clr>
            <a:srgbClr val="F26B43"/>
          </p15:clr>
        </p15:guide>
        <p15:guide id="9" pos="3749" userDrawn="1">
          <p15:clr>
            <a:srgbClr val="F26B43"/>
          </p15:clr>
        </p15:guide>
        <p15:guide id="10" pos="39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7.png"/><Relationship Id="rId3" Type="http://schemas.openxmlformats.org/officeDocument/2006/relationships/image" Target="../media/image9.jpeg"/><Relationship Id="rId7" Type="http://schemas.openxmlformats.org/officeDocument/2006/relationships/image" Target="../media/image12.png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6.xml"/><Relationship Id="rId6" Type="http://schemas.openxmlformats.org/officeDocument/2006/relationships/image" Target="../media/image11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14.png"/><Relationship Id="rId4" Type="http://schemas.openxmlformats.org/officeDocument/2006/relationships/image" Target="../media/image10.png"/><Relationship Id="rId9" Type="http://schemas.microsoft.com/office/2007/relationships/hdphoto" Target="../media/hdphoto2.wdp"/><Relationship Id="rId14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13" Type="http://schemas.openxmlformats.org/officeDocument/2006/relationships/image" Target="../media/image43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6.sv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svg"/><Relationship Id="rId4" Type="http://schemas.openxmlformats.org/officeDocument/2006/relationships/image" Target="../media/image34.svg"/><Relationship Id="rId9" Type="http://schemas.openxmlformats.org/officeDocument/2006/relationships/image" Target="../media/image39.png"/><Relationship Id="rId14" Type="http://schemas.openxmlformats.org/officeDocument/2006/relationships/image" Target="../media/image44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7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9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.png"/><Relationship Id="rId5" Type="http://schemas.openxmlformats.org/officeDocument/2006/relationships/image" Target="../media/image20.png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7" Type="http://schemas.openxmlformats.org/officeDocument/2006/relationships/image" Target="../media/image30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24FC8A-56CA-7F4A-72D2-9CA09D061E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 descr="Ein Bild, das Wasser, Mann, Strand enthält.&#10;&#10;Automatisch generierte Beschreibung">
            <a:extLst>
              <a:ext uri="{FF2B5EF4-FFF2-40B4-BE49-F238E27FC236}">
                <a16:creationId xmlns:a16="http://schemas.microsoft.com/office/drawing/2014/main" id="{0E4FDE7D-4EFF-376C-5A04-A997E9D87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0C77299-9437-0E70-D24C-261C50574E6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65833" r="12370"/>
          <a:stretch>
            <a:fillRect/>
          </a:stretch>
        </p:blipFill>
        <p:spPr bwMode="gray">
          <a:xfrm>
            <a:off x="4295800" y="0"/>
            <a:ext cx="7896200" cy="3078760"/>
          </a:xfrm>
          <a:custGeom>
            <a:avLst/>
            <a:gdLst>
              <a:gd name="connsiteX0" fmla="*/ 0 w 7896200"/>
              <a:gd name="connsiteY0" fmla="*/ 0 h 3078760"/>
              <a:gd name="connsiteX1" fmla="*/ 7896200 w 7896200"/>
              <a:gd name="connsiteY1" fmla="*/ 0 h 3078760"/>
              <a:gd name="connsiteX2" fmla="*/ 7896200 w 7896200"/>
              <a:gd name="connsiteY2" fmla="*/ 3078760 h 3078760"/>
              <a:gd name="connsiteX3" fmla="*/ 0 w 7896200"/>
              <a:gd name="connsiteY3" fmla="*/ 3078760 h 3078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96200" h="3078760">
                <a:moveTo>
                  <a:pt x="0" y="0"/>
                </a:moveTo>
                <a:lnTo>
                  <a:pt x="7896200" y="0"/>
                </a:lnTo>
                <a:lnTo>
                  <a:pt x="7896200" y="3078760"/>
                </a:lnTo>
                <a:lnTo>
                  <a:pt x="0" y="3078760"/>
                </a:lnTo>
                <a:close/>
              </a:path>
            </a:pathLst>
          </a:custGeom>
        </p:spPr>
      </p:pic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3229E57-A299-B5CE-50CD-14DC6970E0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8" imgH="408" progId="TCLayout.ActiveDocument.1">
                  <p:embed/>
                </p:oleObj>
              </mc:Choice>
              <mc:Fallback>
                <p:oleObj name="think-cell Folie" r:id="rId5" imgW="408" imgH="4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38308B-B53F-46BC-B68A-43BA69890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 hidden="1">
            <a:extLst>
              <a:ext uri="{FF2B5EF4-FFF2-40B4-BE49-F238E27FC236}">
                <a16:creationId xmlns:a16="http://schemas.microsoft.com/office/drawing/2014/main" id="{B1E3E5AC-B0FA-D0CF-E3D3-89B995E0644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54" r="12227" b="32822"/>
          <a:stretch/>
        </p:blipFill>
        <p:spPr bwMode="gray"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30C9F56B-1489-8F11-BF42-8447D08D1A7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5360" y="1323286"/>
            <a:ext cx="11089232" cy="1224000"/>
          </a:xfrm>
        </p:spPr>
        <p:txBody>
          <a:bodyPr vert="horz"/>
          <a:lstStyle/>
          <a:p>
            <a:r>
              <a:rPr lang="en-US" sz="5400" err="1">
                <a:solidFill>
                  <a:schemeClr val="tx1"/>
                </a:solidFill>
              </a:rPr>
              <a:t>Willkommen</a:t>
            </a:r>
            <a:r>
              <a:rPr lang="en-US" sz="5400">
                <a:solidFill>
                  <a:schemeClr val="tx1"/>
                </a:solidFill>
              </a:rPr>
              <a:t> </a:t>
            </a:r>
            <a:r>
              <a:rPr lang="en-US" sz="5400" err="1">
                <a:solidFill>
                  <a:schemeClr val="tx1"/>
                </a:solidFill>
              </a:rPr>
              <a:t>bei</a:t>
            </a:r>
            <a:r>
              <a:rPr lang="en-US" sz="5400">
                <a:solidFill>
                  <a:schemeClr val="tx1"/>
                </a:solidFill>
              </a:rPr>
              <a:t> Beiersdorf!</a:t>
            </a:r>
            <a:br>
              <a:rPr lang="en-US" sz="5400">
                <a:solidFill>
                  <a:schemeClr val="tx1"/>
                </a:solidFill>
              </a:rPr>
            </a:br>
            <a:endParaRPr lang="en-US" sz="5400">
              <a:solidFill>
                <a:schemeClr val="tx1"/>
              </a:solidFill>
            </a:endParaRP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45476127-22EE-4304-F154-D0E7127E348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6519EE83-E4B9-1824-C3BA-24F45BCB982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97585386-5812-87B1-ADA0-8873357C65DC}"/>
              </a:ext>
            </a:extLst>
          </p:cNvPr>
          <p:cNvSpPr txBox="1">
            <a:spLocks noChangeAspect="1"/>
          </p:cNvSpPr>
          <p:nvPr/>
        </p:nvSpPr>
        <p:spPr bwMode="gray">
          <a:xfrm>
            <a:off x="550862" y="4581128"/>
            <a:ext cx="3600000" cy="590001"/>
          </a:xfrm>
          <a:prstGeom prst="rect">
            <a:avLst/>
          </a:prstGeom>
          <a:blipFill>
            <a:blip r:embed="rId8" cstate="email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none" baseline="0">
                <a:solidFill>
                  <a:schemeClr val="tx1"/>
                </a:solidFill>
                <a:latin typeface="+mj-lt"/>
                <a:ea typeface="Yu Gothic" panose="020B0400000000000000" pitchFamily="34" charset="-128"/>
                <a:cs typeface="Segoe UI Semibold" panose="020B0702040204020203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 cap="none" baseline="0">
                <a:solidFill>
                  <a:schemeClr val="bg2"/>
                </a:solidFill>
                <a:latin typeface="+mn-lt"/>
                <a:ea typeface="Yu Gothic" panose="020B0400000000000000" pitchFamily="34" charset="-128"/>
                <a:cs typeface="Segoe UI Semilight" panose="020B0402040204020203" pitchFamily="34" charset="0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3pPr>
            <a:lvl4pPr marL="432000" indent="-215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4pPr>
            <a:lvl5pPr marL="648000" indent="-215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5pPr>
            <a:lvl6pPr marL="864000" marR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6pPr>
            <a:lvl7pPr marL="1080000" marR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7pPr>
            <a:lvl8pPr marL="1296000" indent="-215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8pPr>
            <a:lvl9pPr marL="1512000" indent="-215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93F7CC-409E-DE5C-5A08-45FFC1DCA0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550862" y="5434176"/>
            <a:ext cx="6120000" cy="288000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6. Ansible </a:t>
            </a:r>
            <a:r>
              <a:rPr lang="en-US" err="1">
                <a:solidFill>
                  <a:schemeClr val="tx1"/>
                </a:solidFill>
              </a:rPr>
              <a:t>Anwendertreffen</a:t>
            </a:r>
            <a:endParaRPr lang="en-US">
              <a:solidFill>
                <a:schemeClr val="tx1"/>
              </a:solidFill>
            </a:endParaRPr>
          </a:p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51DA562-6F13-E0D1-E7BA-2F31F276CA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550862" y="5733288"/>
            <a:ext cx="6120000" cy="288000"/>
          </a:xfrm>
        </p:spPr>
        <p:txBody>
          <a:bodyPr/>
          <a:lstStyle/>
          <a:p>
            <a:r>
              <a:rPr lang="en-US" b="1">
                <a:solidFill>
                  <a:schemeClr val="tx1"/>
                </a:solidFill>
              </a:rPr>
              <a:t>York von </a:t>
            </a:r>
            <a:r>
              <a:rPr lang="en-US" b="1" err="1">
                <a:solidFill>
                  <a:schemeClr val="tx1"/>
                </a:solidFill>
              </a:rPr>
              <a:t>Löw</a:t>
            </a:r>
            <a:r>
              <a:rPr lang="en-US" b="1">
                <a:solidFill>
                  <a:schemeClr val="tx1"/>
                </a:solidFill>
              </a:rPr>
              <a:t> – Director IT Operations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DFB7D603-7CBB-3703-DDA1-306EF53060B9}"/>
              </a:ext>
            </a:extLst>
          </p:cNvPr>
          <p:cNvGrpSpPr/>
          <p:nvPr/>
        </p:nvGrpSpPr>
        <p:grpSpPr>
          <a:xfrm>
            <a:off x="5119839" y="2381051"/>
            <a:ext cx="6653646" cy="4078874"/>
            <a:chOff x="4842954" y="1025239"/>
            <a:chExt cx="7116885" cy="4322395"/>
          </a:xfrm>
        </p:grpSpPr>
        <p:pic>
          <p:nvPicPr>
            <p:cNvPr id="17" name="Grafik 16" descr="Ein Bild, das Text enthält.&#10;&#10;Automatisch generierte Beschreibung">
              <a:extLst>
                <a:ext uri="{FF2B5EF4-FFF2-40B4-BE49-F238E27FC236}">
                  <a16:creationId xmlns:a16="http://schemas.microsoft.com/office/drawing/2014/main" id="{6382789E-3AC8-E165-3667-AEF3FEB5E1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842954" y="1025239"/>
              <a:ext cx="1687375" cy="4209014"/>
            </a:xfrm>
            <a:prstGeom prst="rect">
              <a:avLst/>
            </a:prstGeom>
            <a:effectLst>
              <a:outerShdw blurRad="76200" dir="18900000" sy="23000" kx="-1200000" algn="bl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CBA793B0-F1AE-A469-CEF3-48653683DA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599289" y="3139208"/>
              <a:ext cx="1974826" cy="1994161"/>
            </a:xfrm>
            <a:prstGeom prst="rect">
              <a:avLst/>
            </a:prstGeom>
            <a:effectLst>
              <a:outerShdw blurRad="76200" dir="18900000" sy="23000" kx="-1200000" algn="bl" rotWithShape="0">
                <a:prstClr val="black">
                  <a:alpha val="15000"/>
                </a:prstClr>
              </a:outerShdw>
            </a:effectLst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B10ABEE2-80E3-31C9-9E4F-987E5156B9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8549720" y="2924944"/>
              <a:ext cx="1841380" cy="2422690"/>
            </a:xfrm>
            <a:prstGeom prst="rect">
              <a:avLst/>
            </a:prstGeom>
            <a:effectLst>
              <a:outerShdw blurRad="139700" dist="292100" dir="19200000" sy="23000" kx="-1200000" algn="bl" rotWithShape="0">
                <a:prstClr val="black">
                  <a:alpha val="21000"/>
                </a:prstClr>
              </a:outerShdw>
            </a:effectLst>
          </p:spPr>
        </p:pic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9DF59A22-1CF9-3521-C69F-555B055DFF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0272464" y="2537239"/>
              <a:ext cx="1687375" cy="2578340"/>
            </a:xfrm>
            <a:prstGeom prst="rect">
              <a:avLst/>
            </a:prstGeom>
            <a:effectLst>
              <a:outerShdw blurRad="139700" dir="18900000" sy="23000" kx="-1200000" algn="bl" rotWithShape="0">
                <a:prstClr val="black">
                  <a:alpha val="18000"/>
                </a:prstClr>
              </a:outerShdw>
            </a:effectLst>
          </p:spPr>
        </p:pic>
      </p:grpSp>
      <p:pic>
        <p:nvPicPr>
          <p:cNvPr id="28" name="Picture 2" descr="Ansible Anwender">
            <a:extLst>
              <a:ext uri="{FF2B5EF4-FFF2-40B4-BE49-F238E27FC236}">
                <a16:creationId xmlns:a16="http://schemas.microsoft.com/office/drawing/2014/main" id="{2A48F410-9497-4798-E64B-D6552CE33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3612" y="3759287"/>
            <a:ext cx="17145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12551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113B9DB-2601-7D51-AF0A-5780DB6A6D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2D15B92-89B9-E73E-B14B-3DA1526EA5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8" name="Bildplatzhalter 8" descr="Ein Bild, das Person, Menschliches Gesicht, Kleidung, Kleinkind enthält.&#10;&#10;Automatisch generierte Beschreibung">
            <a:extLst>
              <a:ext uri="{FF2B5EF4-FFF2-40B4-BE49-F238E27FC236}">
                <a16:creationId xmlns:a16="http://schemas.microsoft.com/office/drawing/2014/main" id="{2F958CFD-42F7-9159-A991-4B8AA1D5E34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0" b="2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5D6BD142-8E15-DDBF-1179-63E96B168141}"/>
              </a:ext>
            </a:extLst>
          </p:cNvPr>
          <p:cNvSpPr txBox="1">
            <a:spLocks/>
          </p:cNvSpPr>
          <p:nvPr/>
        </p:nvSpPr>
        <p:spPr>
          <a:xfrm>
            <a:off x="1786389" y="4653336"/>
            <a:ext cx="10405611" cy="18000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tx1"/>
                </a:solidFill>
                <a:latin typeface="+mj-lt"/>
                <a:ea typeface="+mj-ea"/>
                <a:cs typeface="Segoe UI Light" panose="020B0502040204020203" pitchFamily="34" charset="0"/>
              </a:defRPr>
            </a:lvl1pPr>
          </a:lstStyle>
          <a:p>
            <a:pPr algn="r"/>
            <a:r>
              <a:rPr lang="en-US" sz="4400">
                <a:solidFill>
                  <a:schemeClr val="bg1"/>
                </a:solidFill>
              </a:rPr>
              <a:t>Wo </a:t>
            </a:r>
            <a:r>
              <a:rPr lang="en-US" sz="4400" err="1">
                <a:solidFill>
                  <a:schemeClr val="bg1"/>
                </a:solidFill>
              </a:rPr>
              <a:t>steht</a:t>
            </a:r>
            <a:r>
              <a:rPr lang="en-US" sz="4400">
                <a:solidFill>
                  <a:schemeClr val="bg1"/>
                </a:solidFill>
              </a:rPr>
              <a:t> die </a:t>
            </a:r>
            <a:br>
              <a:rPr lang="en-US" sz="4400">
                <a:solidFill>
                  <a:schemeClr val="bg1"/>
                </a:solidFill>
              </a:rPr>
            </a:br>
            <a:r>
              <a:rPr lang="en-US" sz="4400">
                <a:solidFill>
                  <a:schemeClr val="bg1"/>
                </a:solidFill>
              </a:rPr>
              <a:t>Beiersdorf IT </a:t>
            </a:r>
            <a:r>
              <a:rPr lang="en-US" sz="4400" err="1">
                <a:solidFill>
                  <a:schemeClr val="bg1"/>
                </a:solidFill>
              </a:rPr>
              <a:t>mit</a:t>
            </a:r>
            <a:r>
              <a:rPr lang="en-US" sz="4400">
                <a:solidFill>
                  <a:schemeClr val="bg1"/>
                </a:solidFill>
              </a:rPr>
              <a:t> ansible?</a:t>
            </a:r>
            <a:endParaRPr lang="en-US" sz="4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4107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00D09F6-BE55-DD57-7D92-6271530D35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C2EBF76-8A39-4AE9-553C-84FA93BBA2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A4FA203-BA2A-1697-3CAF-B9D3AF161D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/>
              <a:t>Wo </a:t>
            </a:r>
            <a:r>
              <a:rPr lang="en-US" sz="2800" err="1"/>
              <a:t>steht</a:t>
            </a:r>
            <a:r>
              <a:rPr lang="en-US" sz="2800"/>
              <a:t> die Beiersdorf IT </a:t>
            </a:r>
            <a:r>
              <a:rPr lang="en-US" sz="2800" err="1"/>
              <a:t>mit</a:t>
            </a:r>
            <a:r>
              <a:rPr lang="en-US" sz="2800"/>
              <a:t> ansible?</a:t>
            </a:r>
            <a:endParaRPr lang="de-DE"/>
          </a:p>
        </p:txBody>
      </p:sp>
      <p:sp>
        <p:nvSpPr>
          <p:cNvPr id="48" name="Round Same Side Corner Rectangle 23">
            <a:extLst>
              <a:ext uri="{FF2B5EF4-FFF2-40B4-BE49-F238E27FC236}">
                <a16:creationId xmlns:a16="http://schemas.microsoft.com/office/drawing/2014/main" id="{C91D4F7A-58D5-10A5-E013-B848FAEA935C}"/>
              </a:ext>
            </a:extLst>
          </p:cNvPr>
          <p:cNvSpPr/>
          <p:nvPr/>
        </p:nvSpPr>
        <p:spPr>
          <a:xfrm rot="16200000">
            <a:off x="4593929" y="1278857"/>
            <a:ext cx="720000" cy="214012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49" name="Oval 29">
            <a:extLst>
              <a:ext uri="{FF2B5EF4-FFF2-40B4-BE49-F238E27FC236}">
                <a16:creationId xmlns:a16="http://schemas.microsoft.com/office/drawing/2014/main" id="{9D7C87F3-26DE-9CCC-B35F-B6EA19754084}"/>
              </a:ext>
            </a:extLst>
          </p:cNvPr>
          <p:cNvSpPr/>
          <p:nvPr/>
        </p:nvSpPr>
        <p:spPr>
          <a:xfrm>
            <a:off x="3971832" y="2035823"/>
            <a:ext cx="612000" cy="612000"/>
          </a:xfrm>
          <a:prstGeom prst="ellipse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Round Same Side Corner Rectangle 23">
            <a:extLst>
              <a:ext uri="{FF2B5EF4-FFF2-40B4-BE49-F238E27FC236}">
                <a16:creationId xmlns:a16="http://schemas.microsoft.com/office/drawing/2014/main" id="{1CF035CD-9340-D362-24C0-F4E29498D0F2}"/>
              </a:ext>
            </a:extLst>
          </p:cNvPr>
          <p:cNvSpPr/>
          <p:nvPr/>
        </p:nvSpPr>
        <p:spPr>
          <a:xfrm rot="16200000">
            <a:off x="3547010" y="2073815"/>
            <a:ext cx="720000" cy="264978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52" name="Oval 29">
            <a:extLst>
              <a:ext uri="{FF2B5EF4-FFF2-40B4-BE49-F238E27FC236}">
                <a16:creationId xmlns:a16="http://schemas.microsoft.com/office/drawing/2014/main" id="{F9A510DA-F601-412F-010B-0D36844C2429}"/>
              </a:ext>
            </a:extLst>
          </p:cNvPr>
          <p:cNvSpPr/>
          <p:nvPr/>
        </p:nvSpPr>
        <p:spPr>
          <a:xfrm>
            <a:off x="2675688" y="3085612"/>
            <a:ext cx="612000" cy="612000"/>
          </a:xfrm>
          <a:prstGeom prst="ellipse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Round Same Side Corner Rectangle 23">
            <a:extLst>
              <a:ext uri="{FF2B5EF4-FFF2-40B4-BE49-F238E27FC236}">
                <a16:creationId xmlns:a16="http://schemas.microsoft.com/office/drawing/2014/main" id="{5EE6BF5E-EAE4-749B-4E15-51704D554CCB}"/>
              </a:ext>
            </a:extLst>
          </p:cNvPr>
          <p:cNvSpPr/>
          <p:nvPr/>
        </p:nvSpPr>
        <p:spPr>
          <a:xfrm rot="16200000">
            <a:off x="4706542" y="3298591"/>
            <a:ext cx="720000" cy="236535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55" name="Oval 29">
            <a:extLst>
              <a:ext uri="{FF2B5EF4-FFF2-40B4-BE49-F238E27FC236}">
                <a16:creationId xmlns:a16="http://schemas.microsoft.com/office/drawing/2014/main" id="{70D8A1D3-DE99-D42E-1554-F3125C365FFF}"/>
              </a:ext>
            </a:extLst>
          </p:cNvPr>
          <p:cNvSpPr/>
          <p:nvPr/>
        </p:nvSpPr>
        <p:spPr>
          <a:xfrm>
            <a:off x="3971832" y="4175266"/>
            <a:ext cx="612000" cy="612000"/>
          </a:xfrm>
          <a:prstGeom prst="ellipse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56" name="Group 57">
            <a:extLst>
              <a:ext uri="{FF2B5EF4-FFF2-40B4-BE49-F238E27FC236}">
                <a16:creationId xmlns:a16="http://schemas.microsoft.com/office/drawing/2014/main" id="{42FA67B0-7CB2-8E12-D348-6D6D307DEC21}"/>
              </a:ext>
            </a:extLst>
          </p:cNvPr>
          <p:cNvGrpSpPr/>
          <p:nvPr/>
        </p:nvGrpSpPr>
        <p:grpSpPr>
          <a:xfrm>
            <a:off x="780344" y="1875936"/>
            <a:ext cx="2805629" cy="493983"/>
            <a:chOff x="993672" y="3698889"/>
            <a:chExt cx="1998939" cy="493983"/>
          </a:xfrm>
        </p:grpSpPr>
        <p:sp>
          <p:nvSpPr>
            <p:cNvPr id="57" name="TextBox 36">
              <a:extLst>
                <a:ext uri="{FF2B5EF4-FFF2-40B4-BE49-F238E27FC236}">
                  <a16:creationId xmlns:a16="http://schemas.microsoft.com/office/drawing/2014/main" id="{4778F839-F329-A57D-866D-C97D2F95D38B}"/>
                </a:ext>
              </a:extLst>
            </p:cNvPr>
            <p:cNvSpPr txBox="1"/>
            <p:nvPr/>
          </p:nvSpPr>
          <p:spPr>
            <a:xfrm>
              <a:off x="993672" y="3698889"/>
              <a:ext cx="19894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sz="1400" b="1" err="1">
                  <a:solidFill>
                    <a:schemeClr val="bg2"/>
                  </a:solidFill>
                  <a:latin typeface="+mj-lt"/>
                  <a:cs typeface="Arial" pitchFamily="34" charset="0"/>
                </a:rPr>
                <a:t>Technische</a:t>
              </a:r>
              <a:r>
                <a:rPr lang="en-US" altLang="ko-KR" sz="1400" b="1">
                  <a:solidFill>
                    <a:schemeClr val="bg2"/>
                  </a:solidFill>
                  <a:latin typeface="+mj-lt"/>
                  <a:cs typeface="Arial" pitchFamily="34" charset="0"/>
                </a:rPr>
                <a:t> </a:t>
              </a:r>
              <a:r>
                <a:rPr lang="en-US" altLang="ko-KR" sz="1400" b="1" err="1">
                  <a:solidFill>
                    <a:schemeClr val="bg2"/>
                  </a:solidFill>
                  <a:latin typeface="+mj-lt"/>
                  <a:cs typeface="Arial" pitchFamily="34" charset="0"/>
                </a:rPr>
                <a:t>Implementierung</a:t>
              </a:r>
              <a:endParaRPr lang="ko-KR" altLang="en-US" sz="1400" b="1">
                <a:solidFill>
                  <a:schemeClr val="bg2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58" name="TextBox 37">
              <a:extLst>
                <a:ext uri="{FF2B5EF4-FFF2-40B4-BE49-F238E27FC236}">
                  <a16:creationId xmlns:a16="http://schemas.microsoft.com/office/drawing/2014/main" id="{8F4662D4-2380-A664-8253-87FEB4C8E1D0}"/>
                </a:ext>
              </a:extLst>
            </p:cNvPr>
            <p:cNvSpPr txBox="1"/>
            <p:nvPr/>
          </p:nvSpPr>
          <p:spPr>
            <a:xfrm>
              <a:off x="1003197" y="3915873"/>
              <a:ext cx="198941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de-DE" sz="1000" b="0">
                  <a:solidFill>
                    <a:schemeClr val="bg2"/>
                  </a:solidFill>
                  <a:ea typeface="+mn-ea"/>
                  <a:cs typeface="Segoe UI Semilight" panose="020B0402040204020203" pitchFamily="34" charset="0"/>
                </a:rPr>
                <a:t> </a:t>
              </a:r>
              <a:r>
                <a:rPr lang="de-DE" sz="1200" err="1">
                  <a:solidFill>
                    <a:schemeClr val="bg2"/>
                  </a:solidFill>
                  <a:cs typeface="Arial" pitchFamily="34" charset="0"/>
                </a:rPr>
                <a:t>Ansible</a:t>
              </a:r>
              <a:r>
                <a:rPr lang="de-DE" sz="1200">
                  <a:solidFill>
                    <a:schemeClr val="bg2"/>
                  </a:solidFill>
                  <a:cs typeface="Arial" pitchFamily="34" charset="0"/>
                </a:rPr>
                <a:t> Automation </a:t>
              </a:r>
              <a:r>
                <a:rPr lang="de-DE" sz="1200" err="1">
                  <a:solidFill>
                    <a:schemeClr val="bg2"/>
                  </a:solidFill>
                  <a:cs typeface="Arial" pitchFamily="34" charset="0"/>
                </a:rPr>
                <a:t>Platform</a:t>
              </a:r>
              <a:r>
                <a:rPr lang="de-DE" sz="1200">
                  <a:solidFill>
                    <a:schemeClr val="bg2"/>
                  </a:solidFill>
                  <a:cs typeface="Arial" pitchFamily="34" charset="0"/>
                </a:rPr>
                <a:t> - 2023</a:t>
              </a:r>
              <a:endParaRPr lang="fr-FR" sz="1200">
                <a:solidFill>
                  <a:schemeClr val="bg2"/>
                </a:solidFill>
                <a:cs typeface="Arial" pitchFamily="34" charset="0"/>
              </a:endParaRPr>
            </a:p>
          </p:txBody>
        </p:sp>
      </p:grpSp>
      <p:grpSp>
        <p:nvGrpSpPr>
          <p:cNvPr id="59" name="Group 57">
            <a:extLst>
              <a:ext uri="{FF2B5EF4-FFF2-40B4-BE49-F238E27FC236}">
                <a16:creationId xmlns:a16="http://schemas.microsoft.com/office/drawing/2014/main" id="{F299D07D-F3B7-5FF5-3EAB-FEC907BB1843}"/>
              </a:ext>
            </a:extLst>
          </p:cNvPr>
          <p:cNvGrpSpPr/>
          <p:nvPr/>
        </p:nvGrpSpPr>
        <p:grpSpPr>
          <a:xfrm>
            <a:off x="-200378" y="2996952"/>
            <a:ext cx="2805629" cy="863315"/>
            <a:chOff x="993672" y="3698889"/>
            <a:chExt cx="1998939" cy="863315"/>
          </a:xfrm>
        </p:grpSpPr>
        <p:sp>
          <p:nvSpPr>
            <p:cNvPr id="60" name="TextBox 36">
              <a:extLst>
                <a:ext uri="{FF2B5EF4-FFF2-40B4-BE49-F238E27FC236}">
                  <a16:creationId xmlns:a16="http://schemas.microsoft.com/office/drawing/2014/main" id="{6248903E-E888-86D4-576E-62D346C813F9}"/>
                </a:ext>
              </a:extLst>
            </p:cNvPr>
            <p:cNvSpPr txBox="1"/>
            <p:nvPr/>
          </p:nvSpPr>
          <p:spPr>
            <a:xfrm>
              <a:off x="993672" y="3698889"/>
              <a:ext cx="19894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sz="1400" b="1">
                  <a:solidFill>
                    <a:schemeClr val="bg2"/>
                  </a:solidFill>
                  <a:latin typeface="+mj-lt"/>
                  <a:cs typeface="Arial" pitchFamily="34" charset="0"/>
                </a:rPr>
                <a:t>Trainings</a:t>
              </a:r>
              <a:endParaRPr lang="ko-KR" altLang="en-US" sz="1400" b="1">
                <a:solidFill>
                  <a:schemeClr val="bg2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61" name="TextBox 37">
              <a:extLst>
                <a:ext uri="{FF2B5EF4-FFF2-40B4-BE49-F238E27FC236}">
                  <a16:creationId xmlns:a16="http://schemas.microsoft.com/office/drawing/2014/main" id="{313E0E05-F5D8-2C40-A15E-C0D1469E8424}"/>
                </a:ext>
              </a:extLst>
            </p:cNvPr>
            <p:cNvSpPr txBox="1"/>
            <p:nvPr/>
          </p:nvSpPr>
          <p:spPr>
            <a:xfrm>
              <a:off x="1003197" y="3915873"/>
              <a:ext cx="198941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sz="1200">
                  <a:solidFill>
                    <a:schemeClr val="bg2"/>
                  </a:solidFill>
                  <a:cs typeface="Arial" pitchFamily="34" charset="0"/>
                </a:rPr>
                <a:t>Platform Management DO467</a:t>
              </a:r>
            </a:p>
            <a:p>
              <a:pPr algn="r"/>
              <a:r>
                <a:rPr lang="de-DE" sz="1200">
                  <a:solidFill>
                    <a:schemeClr val="bg2"/>
                  </a:solidFill>
                </a:rPr>
                <a:t>Windows Automation </a:t>
              </a:r>
              <a:r>
                <a:rPr lang="en-US" altLang="ko-KR" sz="1200">
                  <a:solidFill>
                    <a:schemeClr val="bg2"/>
                  </a:solidFill>
                  <a:cs typeface="Arial" pitchFamily="34" charset="0"/>
                </a:rPr>
                <a:t>DO417VT</a:t>
              </a:r>
            </a:p>
            <a:p>
              <a:pPr algn="r"/>
              <a:r>
                <a:rPr lang="en-US" altLang="ko-KR" sz="1200">
                  <a:solidFill>
                    <a:schemeClr val="bg2"/>
                  </a:solidFill>
                  <a:cs typeface="Arial" pitchFamily="34" charset="0"/>
                </a:rPr>
                <a:t> Linux Automation RH294VT</a:t>
              </a:r>
            </a:p>
          </p:txBody>
        </p:sp>
      </p:grpSp>
      <p:grpSp>
        <p:nvGrpSpPr>
          <p:cNvPr id="62" name="Group 57">
            <a:extLst>
              <a:ext uri="{FF2B5EF4-FFF2-40B4-BE49-F238E27FC236}">
                <a16:creationId xmlns:a16="http://schemas.microsoft.com/office/drawing/2014/main" id="{02461217-2BD4-6F6A-3DC7-FD1B0DD70A27}"/>
              </a:ext>
            </a:extLst>
          </p:cNvPr>
          <p:cNvGrpSpPr/>
          <p:nvPr/>
        </p:nvGrpSpPr>
        <p:grpSpPr>
          <a:xfrm>
            <a:off x="1029938" y="4221869"/>
            <a:ext cx="2805629" cy="863315"/>
            <a:chOff x="993672" y="3698889"/>
            <a:chExt cx="1998939" cy="863315"/>
          </a:xfrm>
        </p:grpSpPr>
        <p:sp>
          <p:nvSpPr>
            <p:cNvPr id="63" name="TextBox 36">
              <a:extLst>
                <a:ext uri="{FF2B5EF4-FFF2-40B4-BE49-F238E27FC236}">
                  <a16:creationId xmlns:a16="http://schemas.microsoft.com/office/drawing/2014/main" id="{655906B4-3A14-2A89-A261-955CCD45B451}"/>
                </a:ext>
              </a:extLst>
            </p:cNvPr>
            <p:cNvSpPr txBox="1"/>
            <p:nvPr/>
          </p:nvSpPr>
          <p:spPr>
            <a:xfrm>
              <a:off x="993672" y="3698889"/>
              <a:ext cx="19894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sz="1400" b="1">
                  <a:solidFill>
                    <a:schemeClr val="bg2"/>
                  </a:solidFill>
                  <a:latin typeface="+mj-lt"/>
                  <a:cs typeface="Arial" pitchFamily="34" charset="0"/>
                </a:rPr>
                <a:t>Community</a:t>
              </a:r>
              <a:endParaRPr lang="ko-KR" altLang="en-US" sz="1400" b="1">
                <a:solidFill>
                  <a:schemeClr val="bg2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048" name="TextBox 37">
              <a:extLst>
                <a:ext uri="{FF2B5EF4-FFF2-40B4-BE49-F238E27FC236}">
                  <a16:creationId xmlns:a16="http://schemas.microsoft.com/office/drawing/2014/main" id="{58AA8602-53B8-09C1-9661-D7AA1CF818C1}"/>
                </a:ext>
              </a:extLst>
            </p:cNvPr>
            <p:cNvSpPr txBox="1"/>
            <p:nvPr/>
          </p:nvSpPr>
          <p:spPr>
            <a:xfrm>
              <a:off x="1003197" y="3915873"/>
              <a:ext cx="198941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sz="1200">
                  <a:solidFill>
                    <a:schemeClr val="bg2"/>
                  </a:solidFill>
                  <a:cs typeface="Arial" pitchFamily="34" charset="0"/>
                </a:rPr>
                <a:t>Kickoff</a:t>
              </a:r>
            </a:p>
            <a:p>
              <a:pPr algn="r"/>
              <a:r>
                <a:rPr lang="en-US" altLang="ko-KR" sz="1200">
                  <a:solidFill>
                    <a:schemeClr val="bg2"/>
                  </a:solidFill>
                  <a:cs typeface="Arial" pitchFamily="34" charset="0"/>
                </a:rPr>
                <a:t>Definition of Standards</a:t>
              </a:r>
            </a:p>
            <a:p>
              <a:pPr algn="r"/>
              <a:r>
                <a:rPr lang="en-US" altLang="ko-KR" sz="1200">
                  <a:solidFill>
                    <a:schemeClr val="bg2"/>
                  </a:solidFill>
                  <a:cs typeface="Arial" pitchFamily="34" charset="0"/>
                </a:rPr>
                <a:t>Upskilling</a:t>
              </a:r>
              <a:endParaRPr lang="ko-KR" altLang="en-US" sz="1200">
                <a:solidFill>
                  <a:schemeClr val="bg2"/>
                </a:solidFill>
                <a:cs typeface="Arial" pitchFamily="34" charset="0"/>
              </a:endParaRPr>
            </a:p>
          </p:txBody>
        </p:sp>
      </p:grpSp>
      <p:sp>
        <p:nvSpPr>
          <p:cNvPr id="2049" name="Round Same Side Corner Rectangle 23">
            <a:extLst>
              <a:ext uri="{FF2B5EF4-FFF2-40B4-BE49-F238E27FC236}">
                <a16:creationId xmlns:a16="http://schemas.microsoft.com/office/drawing/2014/main" id="{99FB7B7B-51DC-3876-A6B8-96D00A7C409F}"/>
              </a:ext>
            </a:extLst>
          </p:cNvPr>
          <p:cNvSpPr/>
          <p:nvPr/>
        </p:nvSpPr>
        <p:spPr>
          <a:xfrm rot="5400000">
            <a:off x="6878072" y="1291473"/>
            <a:ext cx="720000" cy="214012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2050" name="Oval 29">
            <a:extLst>
              <a:ext uri="{FF2B5EF4-FFF2-40B4-BE49-F238E27FC236}">
                <a16:creationId xmlns:a16="http://schemas.microsoft.com/office/drawing/2014/main" id="{2DE2AA70-F494-D5CE-AC0B-290C633775EA}"/>
              </a:ext>
            </a:extLst>
          </p:cNvPr>
          <p:cNvSpPr/>
          <p:nvPr/>
        </p:nvSpPr>
        <p:spPr>
          <a:xfrm rot="10800000">
            <a:off x="7624127" y="2061320"/>
            <a:ext cx="612000" cy="612000"/>
          </a:xfrm>
          <a:prstGeom prst="ellipse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051" name="Group 57">
            <a:extLst>
              <a:ext uri="{FF2B5EF4-FFF2-40B4-BE49-F238E27FC236}">
                <a16:creationId xmlns:a16="http://schemas.microsoft.com/office/drawing/2014/main" id="{1DBEDFB7-94AE-15A6-2604-F657F5F2C717}"/>
              </a:ext>
            </a:extLst>
          </p:cNvPr>
          <p:cNvGrpSpPr/>
          <p:nvPr/>
        </p:nvGrpSpPr>
        <p:grpSpPr>
          <a:xfrm>
            <a:off x="8254989" y="1986855"/>
            <a:ext cx="3437521" cy="863315"/>
            <a:chOff x="993672" y="3698889"/>
            <a:chExt cx="2449146" cy="863315"/>
          </a:xfrm>
        </p:grpSpPr>
        <p:sp>
          <p:nvSpPr>
            <p:cNvPr id="2053" name="TextBox 36">
              <a:extLst>
                <a:ext uri="{FF2B5EF4-FFF2-40B4-BE49-F238E27FC236}">
                  <a16:creationId xmlns:a16="http://schemas.microsoft.com/office/drawing/2014/main" id="{6E43871D-E00B-793E-4AA3-1B0F34024D25}"/>
                </a:ext>
              </a:extLst>
            </p:cNvPr>
            <p:cNvSpPr txBox="1"/>
            <p:nvPr/>
          </p:nvSpPr>
          <p:spPr>
            <a:xfrm>
              <a:off x="993672" y="3698889"/>
              <a:ext cx="19894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>
                  <a:solidFill>
                    <a:schemeClr val="bg2"/>
                  </a:solidFill>
                  <a:latin typeface="+mj-lt"/>
                  <a:cs typeface="Arial" pitchFamily="34" charset="0"/>
                </a:rPr>
                <a:t>Server</a:t>
              </a:r>
              <a:endParaRPr lang="ko-KR" altLang="en-US" sz="1400" b="1">
                <a:solidFill>
                  <a:schemeClr val="bg2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055" name="TextBox 37">
              <a:extLst>
                <a:ext uri="{FF2B5EF4-FFF2-40B4-BE49-F238E27FC236}">
                  <a16:creationId xmlns:a16="http://schemas.microsoft.com/office/drawing/2014/main" id="{1F1E20FC-0921-EDA0-AD07-65B31EE0890F}"/>
                </a:ext>
              </a:extLst>
            </p:cNvPr>
            <p:cNvSpPr txBox="1"/>
            <p:nvPr/>
          </p:nvSpPr>
          <p:spPr>
            <a:xfrm>
              <a:off x="1003196" y="3915873"/>
              <a:ext cx="243962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>
                  <a:solidFill>
                    <a:schemeClr val="bg2"/>
                  </a:solidFill>
                  <a:cs typeface="Arial" pitchFamily="34" charset="0"/>
                </a:rPr>
                <a:t>Windows Patch Management, Windows Konfiguration, Dell Hardware Treiber und BIOS-Updates, Print Server Setup/</a:t>
              </a:r>
              <a:r>
                <a:rPr lang="de-DE" sz="1200" err="1">
                  <a:solidFill>
                    <a:schemeClr val="bg2"/>
                  </a:solidFill>
                  <a:cs typeface="Arial" pitchFamily="34" charset="0"/>
                </a:rPr>
                <a:t>Role</a:t>
              </a:r>
              <a:r>
                <a:rPr lang="de-DE" sz="1200">
                  <a:solidFill>
                    <a:schemeClr val="bg2"/>
                  </a:solidFill>
                  <a:cs typeface="Arial" pitchFamily="34" charset="0"/>
                </a:rPr>
                <a:t> </a:t>
              </a:r>
              <a:r>
                <a:rPr lang="de-DE" sz="1200" err="1">
                  <a:solidFill>
                    <a:schemeClr val="bg2"/>
                  </a:solidFill>
                  <a:cs typeface="Arial" pitchFamily="34" charset="0"/>
                </a:rPr>
                <a:t>Deployment</a:t>
              </a:r>
              <a:endParaRPr lang="fr-FR" sz="1200">
                <a:solidFill>
                  <a:schemeClr val="bg2"/>
                </a:solidFill>
                <a:cs typeface="Arial" pitchFamily="34" charset="0"/>
              </a:endParaRPr>
            </a:p>
          </p:txBody>
        </p:sp>
      </p:grpSp>
      <p:sp>
        <p:nvSpPr>
          <p:cNvPr id="2057" name="Round Same Side Corner Rectangle 23">
            <a:extLst>
              <a:ext uri="{FF2B5EF4-FFF2-40B4-BE49-F238E27FC236}">
                <a16:creationId xmlns:a16="http://schemas.microsoft.com/office/drawing/2014/main" id="{C16D94D7-95BD-54D5-C900-7DE4946199E0}"/>
              </a:ext>
            </a:extLst>
          </p:cNvPr>
          <p:cNvSpPr/>
          <p:nvPr/>
        </p:nvSpPr>
        <p:spPr>
          <a:xfrm rot="5400000">
            <a:off x="7299002" y="2077910"/>
            <a:ext cx="720000" cy="264978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2058" name="Round Same Side Corner Rectangle 23">
            <a:extLst>
              <a:ext uri="{FF2B5EF4-FFF2-40B4-BE49-F238E27FC236}">
                <a16:creationId xmlns:a16="http://schemas.microsoft.com/office/drawing/2014/main" id="{A99F94B3-7EFF-AD1C-218F-609E5FB5FE8D}"/>
              </a:ext>
            </a:extLst>
          </p:cNvPr>
          <p:cNvSpPr/>
          <p:nvPr/>
        </p:nvSpPr>
        <p:spPr>
          <a:xfrm rot="5400000">
            <a:off x="6765459" y="3280463"/>
            <a:ext cx="720000" cy="236535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/>
          </a:p>
        </p:txBody>
      </p:sp>
      <p:pic>
        <p:nvPicPr>
          <p:cNvPr id="2056" name="Picture 8" descr="Red Hat Ansible Automates 2021">
            <a:extLst>
              <a:ext uri="{FF2B5EF4-FFF2-40B4-BE49-F238E27FC236}">
                <a16:creationId xmlns:a16="http://schemas.microsoft.com/office/drawing/2014/main" id="{2ACA83E8-967F-CC10-6606-F97B2C59A0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1716" y="1964716"/>
            <a:ext cx="2976452" cy="2976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59" name="Oval 29">
            <a:extLst>
              <a:ext uri="{FF2B5EF4-FFF2-40B4-BE49-F238E27FC236}">
                <a16:creationId xmlns:a16="http://schemas.microsoft.com/office/drawing/2014/main" id="{CA5F95E2-8B77-4C80-C9EA-4963F34805CA}"/>
              </a:ext>
            </a:extLst>
          </p:cNvPr>
          <p:cNvSpPr/>
          <p:nvPr/>
        </p:nvSpPr>
        <p:spPr>
          <a:xfrm rot="10800000">
            <a:off x="8276722" y="3096804"/>
            <a:ext cx="612000" cy="612000"/>
          </a:xfrm>
          <a:prstGeom prst="ellipse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061" name="Oval 29">
            <a:extLst>
              <a:ext uri="{FF2B5EF4-FFF2-40B4-BE49-F238E27FC236}">
                <a16:creationId xmlns:a16="http://schemas.microsoft.com/office/drawing/2014/main" id="{4D053727-6CA6-D03E-B25F-8F1D92C2F63F}"/>
              </a:ext>
            </a:extLst>
          </p:cNvPr>
          <p:cNvSpPr/>
          <p:nvPr/>
        </p:nvSpPr>
        <p:spPr>
          <a:xfrm rot="10800000">
            <a:off x="7624127" y="4166213"/>
            <a:ext cx="612000" cy="612000"/>
          </a:xfrm>
          <a:prstGeom prst="ellipse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2062" name="Group 57">
            <a:extLst>
              <a:ext uri="{FF2B5EF4-FFF2-40B4-BE49-F238E27FC236}">
                <a16:creationId xmlns:a16="http://schemas.microsoft.com/office/drawing/2014/main" id="{9B9B13D0-4AB7-33DE-9041-A1F77D5D465A}"/>
              </a:ext>
            </a:extLst>
          </p:cNvPr>
          <p:cNvGrpSpPr/>
          <p:nvPr/>
        </p:nvGrpSpPr>
        <p:grpSpPr>
          <a:xfrm>
            <a:off x="8979880" y="3096804"/>
            <a:ext cx="3209044" cy="863315"/>
            <a:chOff x="993672" y="3698889"/>
            <a:chExt cx="2286362" cy="863315"/>
          </a:xfrm>
        </p:grpSpPr>
        <p:sp>
          <p:nvSpPr>
            <p:cNvPr id="2063" name="TextBox 36">
              <a:extLst>
                <a:ext uri="{FF2B5EF4-FFF2-40B4-BE49-F238E27FC236}">
                  <a16:creationId xmlns:a16="http://schemas.microsoft.com/office/drawing/2014/main" id="{DAB8E763-A0A3-EF4A-A864-6E0D07A99D73}"/>
                </a:ext>
              </a:extLst>
            </p:cNvPr>
            <p:cNvSpPr txBox="1"/>
            <p:nvPr/>
          </p:nvSpPr>
          <p:spPr>
            <a:xfrm>
              <a:off x="993672" y="3698889"/>
              <a:ext cx="19894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err="1">
                  <a:solidFill>
                    <a:schemeClr val="bg2"/>
                  </a:solidFill>
                  <a:latin typeface="+mj-lt"/>
                  <a:cs typeface="Arial" pitchFamily="34" charset="0"/>
                </a:rPr>
                <a:t>Netzwerk</a:t>
              </a:r>
              <a:endParaRPr lang="ko-KR" altLang="en-US" sz="1400" b="1">
                <a:solidFill>
                  <a:schemeClr val="bg2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064" name="TextBox 37">
              <a:extLst>
                <a:ext uri="{FF2B5EF4-FFF2-40B4-BE49-F238E27FC236}">
                  <a16:creationId xmlns:a16="http://schemas.microsoft.com/office/drawing/2014/main" id="{A0CDBD6E-C45C-0F68-9D55-FD0554A0E027}"/>
                </a:ext>
              </a:extLst>
            </p:cNvPr>
            <p:cNvSpPr txBox="1"/>
            <p:nvPr/>
          </p:nvSpPr>
          <p:spPr>
            <a:xfrm>
              <a:off x="1003196" y="3915873"/>
              <a:ext cx="227683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>
                  <a:solidFill>
                    <a:schemeClr val="bg2"/>
                  </a:solidFill>
                  <a:cs typeface="Arial" pitchFamily="34" charset="0"/>
                </a:rPr>
                <a:t>Cisco iOS Update, VLAN Erstellung, Backup von </a:t>
              </a:r>
              <a:r>
                <a:rPr lang="de-DE" sz="1200" err="1">
                  <a:solidFill>
                    <a:schemeClr val="bg2"/>
                  </a:solidFill>
                  <a:cs typeface="Arial" pitchFamily="34" charset="0"/>
                </a:rPr>
                <a:t>Konfigs</a:t>
              </a:r>
              <a:r>
                <a:rPr lang="de-DE" sz="1200">
                  <a:solidFill>
                    <a:schemeClr val="bg2"/>
                  </a:solidFill>
                  <a:cs typeface="Arial" pitchFamily="34" charset="0"/>
                </a:rPr>
                <a:t> und Löschen von </a:t>
              </a:r>
              <a:r>
                <a:rPr lang="de-DE" sz="1200" err="1">
                  <a:solidFill>
                    <a:schemeClr val="bg2"/>
                  </a:solidFill>
                  <a:cs typeface="Arial" pitchFamily="34" charset="0"/>
                </a:rPr>
                <a:t>Konfigs</a:t>
              </a:r>
              <a:r>
                <a:rPr lang="de-DE" sz="1200">
                  <a:solidFill>
                    <a:schemeClr val="bg2"/>
                  </a:solidFill>
                  <a:cs typeface="Arial" pitchFamily="34" charset="0"/>
                </a:rPr>
                <a:t> vor HW Lifecycle</a:t>
              </a:r>
            </a:p>
          </p:txBody>
        </p:sp>
      </p:grpSp>
      <p:grpSp>
        <p:nvGrpSpPr>
          <p:cNvPr id="2065" name="Group 57">
            <a:extLst>
              <a:ext uri="{FF2B5EF4-FFF2-40B4-BE49-F238E27FC236}">
                <a16:creationId xmlns:a16="http://schemas.microsoft.com/office/drawing/2014/main" id="{BC2F86F5-867B-88C8-AFE6-6B5124705F2E}"/>
              </a:ext>
            </a:extLst>
          </p:cNvPr>
          <p:cNvGrpSpPr/>
          <p:nvPr/>
        </p:nvGrpSpPr>
        <p:grpSpPr>
          <a:xfrm>
            <a:off x="8364297" y="4202721"/>
            <a:ext cx="3209044" cy="1047981"/>
            <a:chOff x="993672" y="3698889"/>
            <a:chExt cx="2286362" cy="1047981"/>
          </a:xfrm>
        </p:grpSpPr>
        <p:sp>
          <p:nvSpPr>
            <p:cNvPr id="2066" name="TextBox 36">
              <a:extLst>
                <a:ext uri="{FF2B5EF4-FFF2-40B4-BE49-F238E27FC236}">
                  <a16:creationId xmlns:a16="http://schemas.microsoft.com/office/drawing/2014/main" id="{A6FD83D6-75E9-367B-3187-091FB07057E1}"/>
                </a:ext>
              </a:extLst>
            </p:cNvPr>
            <p:cNvSpPr txBox="1"/>
            <p:nvPr/>
          </p:nvSpPr>
          <p:spPr>
            <a:xfrm>
              <a:off x="993672" y="3698889"/>
              <a:ext cx="19894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400" b="1" err="1">
                  <a:solidFill>
                    <a:schemeClr val="bg2"/>
                  </a:solidFill>
                  <a:latin typeface="+mj-lt"/>
                  <a:cs typeface="Arial" pitchFamily="34" charset="0"/>
                </a:rPr>
                <a:t>EntraID</a:t>
              </a:r>
              <a:r>
                <a:rPr lang="en-US" altLang="ko-KR" sz="1400" b="1">
                  <a:solidFill>
                    <a:schemeClr val="bg2"/>
                  </a:solidFill>
                  <a:latin typeface="+mj-lt"/>
                  <a:cs typeface="Arial" pitchFamily="34" charset="0"/>
                </a:rPr>
                <a:t> / Active Directory</a:t>
              </a:r>
            </a:p>
          </p:txBody>
        </p:sp>
        <p:sp>
          <p:nvSpPr>
            <p:cNvPr id="2067" name="TextBox 37">
              <a:extLst>
                <a:ext uri="{FF2B5EF4-FFF2-40B4-BE49-F238E27FC236}">
                  <a16:creationId xmlns:a16="http://schemas.microsoft.com/office/drawing/2014/main" id="{856A6E9B-1A2D-6FC1-E4A4-D2F6D138F845}"/>
                </a:ext>
              </a:extLst>
            </p:cNvPr>
            <p:cNvSpPr txBox="1"/>
            <p:nvPr/>
          </p:nvSpPr>
          <p:spPr>
            <a:xfrm>
              <a:off x="1003196" y="3915873"/>
              <a:ext cx="227683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>
                  <a:solidFill>
                    <a:schemeClr val="bg2"/>
                  </a:solidFill>
                  <a:cs typeface="Arial" pitchFamily="34" charset="0"/>
                </a:rPr>
                <a:t>Domain Controller Setup, Zertifikatsverteilung </a:t>
              </a:r>
              <a:r>
                <a:rPr lang="de-DE" sz="1200" err="1">
                  <a:solidFill>
                    <a:schemeClr val="bg2"/>
                  </a:solidFill>
                  <a:cs typeface="Arial" pitchFamily="34" charset="0"/>
                </a:rPr>
                <a:t>cross</a:t>
              </a:r>
              <a:r>
                <a:rPr lang="de-DE" sz="1200">
                  <a:solidFill>
                    <a:schemeClr val="bg2"/>
                  </a:solidFill>
                  <a:cs typeface="Arial" pitchFamily="34" charset="0"/>
                </a:rPr>
                <a:t>-domain, Shopfloor Domain </a:t>
              </a:r>
              <a:r>
                <a:rPr lang="de-DE" sz="1200" err="1">
                  <a:solidFill>
                    <a:schemeClr val="bg2"/>
                  </a:solidFill>
                  <a:cs typeface="Arial" pitchFamily="34" charset="0"/>
                </a:rPr>
                <a:t>automation</a:t>
              </a:r>
              <a:r>
                <a:rPr lang="de-DE" sz="1200">
                  <a:solidFill>
                    <a:schemeClr val="bg2"/>
                  </a:solidFill>
                  <a:cs typeface="Arial" pitchFamily="34" charset="0"/>
                </a:rPr>
                <a:t>,</a:t>
              </a:r>
            </a:p>
            <a:p>
              <a:r>
                <a:rPr lang="de-DE" sz="1200">
                  <a:solidFill>
                    <a:schemeClr val="bg2"/>
                  </a:solidFill>
                  <a:cs typeface="Arial" pitchFamily="34" charset="0"/>
                </a:rPr>
                <a:t>GPOs zu </a:t>
              </a:r>
              <a:r>
                <a:rPr lang="de-DE" sz="1200" err="1">
                  <a:solidFill>
                    <a:schemeClr val="bg2"/>
                  </a:solidFill>
                  <a:cs typeface="Arial" pitchFamily="34" charset="0"/>
                </a:rPr>
                <a:t>Ansible</a:t>
              </a:r>
              <a:r>
                <a:rPr lang="de-DE" sz="1200">
                  <a:solidFill>
                    <a:schemeClr val="bg2"/>
                  </a:solidFill>
                  <a:cs typeface="Arial" pitchFamily="34" charset="0"/>
                </a:rPr>
                <a:t> überführt</a:t>
              </a:r>
            </a:p>
          </p:txBody>
        </p:sp>
      </p:grpSp>
      <p:pic>
        <p:nvPicPr>
          <p:cNvPr id="2069" name="Grafik 2068" descr="Ambition mit einfarbiger Füllung">
            <a:extLst>
              <a:ext uri="{FF2B5EF4-FFF2-40B4-BE49-F238E27FC236}">
                <a16:creationId xmlns:a16="http://schemas.microsoft.com/office/drawing/2014/main" id="{9BE654C5-F53C-1576-DBCD-36CE37DF5F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96032" y="2092920"/>
            <a:ext cx="454480" cy="454480"/>
          </a:xfrm>
          <a:prstGeom prst="rect">
            <a:avLst/>
          </a:prstGeom>
        </p:spPr>
      </p:pic>
      <p:pic>
        <p:nvPicPr>
          <p:cNvPr id="2071" name="Grafik 2070" descr="Becherglas mit einfarbiger Füllung">
            <a:extLst>
              <a:ext uri="{FF2B5EF4-FFF2-40B4-BE49-F238E27FC236}">
                <a16:creationId xmlns:a16="http://schemas.microsoft.com/office/drawing/2014/main" id="{386F653D-481D-CE45-92BF-B50FB664DEB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70921" y="3153028"/>
            <a:ext cx="416554" cy="416554"/>
          </a:xfrm>
          <a:prstGeom prst="rect">
            <a:avLst/>
          </a:prstGeom>
        </p:spPr>
      </p:pic>
      <p:pic>
        <p:nvPicPr>
          <p:cNvPr id="2073" name="Grafik 2072" descr="Sitzungssaal mit einfarbiger Füllung">
            <a:extLst>
              <a:ext uri="{FF2B5EF4-FFF2-40B4-BE49-F238E27FC236}">
                <a16:creationId xmlns:a16="http://schemas.microsoft.com/office/drawing/2014/main" id="{96C681D5-2C87-DB2E-FE41-0A85FA9F8C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30020" y="4218677"/>
            <a:ext cx="507072" cy="507072"/>
          </a:xfrm>
          <a:prstGeom prst="rect">
            <a:avLst/>
          </a:prstGeom>
        </p:spPr>
      </p:pic>
      <p:pic>
        <p:nvPicPr>
          <p:cNvPr id="2075" name="Grafik 2074" descr="Gebäude mit einfarbiger Füllung">
            <a:extLst>
              <a:ext uri="{FF2B5EF4-FFF2-40B4-BE49-F238E27FC236}">
                <a16:creationId xmlns:a16="http://schemas.microsoft.com/office/drawing/2014/main" id="{BCDE06DB-7CEE-13EE-2838-9FFDFFCAAC7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716688" y="4245677"/>
            <a:ext cx="453072" cy="453072"/>
          </a:xfrm>
          <a:prstGeom prst="rect">
            <a:avLst/>
          </a:prstGeom>
        </p:spPr>
      </p:pic>
      <p:pic>
        <p:nvPicPr>
          <p:cNvPr id="2077" name="Grafik 2076" descr="Verbindungen mit einfarbiger Füllung">
            <a:extLst>
              <a:ext uri="{FF2B5EF4-FFF2-40B4-BE49-F238E27FC236}">
                <a16:creationId xmlns:a16="http://schemas.microsoft.com/office/drawing/2014/main" id="{DAC30A2E-2559-D3D2-5CA1-88749E36CA3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348983" y="3166662"/>
            <a:ext cx="457200" cy="457200"/>
          </a:xfrm>
          <a:prstGeom prst="rect">
            <a:avLst/>
          </a:prstGeom>
        </p:spPr>
      </p:pic>
      <p:pic>
        <p:nvPicPr>
          <p:cNvPr id="2079" name="Grafik 2078" descr="Datenbank mit einfarbiger Füllung">
            <a:extLst>
              <a:ext uri="{FF2B5EF4-FFF2-40B4-BE49-F238E27FC236}">
                <a16:creationId xmlns:a16="http://schemas.microsoft.com/office/drawing/2014/main" id="{ECB7DBE3-E180-A710-3CBD-7ABD0BF545B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35703" y="2140743"/>
            <a:ext cx="425187" cy="425187"/>
          </a:xfrm>
          <a:prstGeom prst="rect">
            <a:avLst/>
          </a:prstGeom>
        </p:spPr>
      </p:pic>
      <p:sp>
        <p:nvSpPr>
          <p:cNvPr id="2080" name="Grenzstelle 2079">
            <a:extLst>
              <a:ext uri="{FF2B5EF4-FFF2-40B4-BE49-F238E27FC236}">
                <a16:creationId xmlns:a16="http://schemas.microsoft.com/office/drawing/2014/main" id="{7DADDC69-ACF4-1E27-0478-3B923403F6D5}"/>
              </a:ext>
            </a:extLst>
          </p:cNvPr>
          <p:cNvSpPr/>
          <p:nvPr/>
        </p:nvSpPr>
        <p:spPr bwMode="gray">
          <a:xfrm>
            <a:off x="677144" y="5549472"/>
            <a:ext cx="2867828" cy="720080"/>
          </a:xfrm>
          <a:prstGeom prst="flowChartTerminator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Aft>
                <a:spcPts val="600"/>
              </a:spcAft>
            </a:pPr>
            <a:r>
              <a:rPr lang="de-DE" sz="1600">
                <a:solidFill>
                  <a:schemeClr val="bg1"/>
                </a:solidFill>
                <a:latin typeface="+mj-lt"/>
              </a:rPr>
              <a:t>Organisatorisch</a:t>
            </a:r>
          </a:p>
        </p:txBody>
      </p:sp>
      <p:pic>
        <p:nvPicPr>
          <p:cNvPr id="2083" name="Grafik 2082" descr="Ein Bild, das Schwarz, Dunkelheit enthält.&#10;&#10;Automatisch generierte Beschreibung">
            <a:extLst>
              <a:ext uri="{FF2B5EF4-FFF2-40B4-BE49-F238E27FC236}">
                <a16:creationId xmlns:a16="http://schemas.microsoft.com/office/drawing/2014/main" id="{F11310A7-25DB-D827-FDAF-899AD7AAA486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502454" y="5194234"/>
            <a:ext cx="1331110" cy="1331110"/>
          </a:xfrm>
          <a:prstGeom prst="rect">
            <a:avLst/>
          </a:prstGeom>
        </p:spPr>
      </p:pic>
      <p:cxnSp>
        <p:nvCxnSpPr>
          <p:cNvPr id="2085" name="Gerade Verbindung 2084">
            <a:extLst>
              <a:ext uri="{FF2B5EF4-FFF2-40B4-BE49-F238E27FC236}">
                <a16:creationId xmlns:a16="http://schemas.microsoft.com/office/drawing/2014/main" id="{F368D903-F226-BE67-ACAD-82FED84A47DF}"/>
              </a:ext>
            </a:extLst>
          </p:cNvPr>
          <p:cNvCxnSpPr>
            <a:cxnSpLocks/>
            <a:stCxn id="2080" idx="3"/>
          </p:cNvCxnSpPr>
          <p:nvPr/>
        </p:nvCxnSpPr>
        <p:spPr bwMode="gray">
          <a:xfrm>
            <a:off x="3544972" y="5909512"/>
            <a:ext cx="2046972" cy="0"/>
          </a:xfrm>
          <a:prstGeom prst="line">
            <a:avLst/>
          </a:prstGeom>
          <a:ln w="25400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8" name="Gerade Verbindung 2087">
            <a:extLst>
              <a:ext uri="{FF2B5EF4-FFF2-40B4-BE49-F238E27FC236}">
                <a16:creationId xmlns:a16="http://schemas.microsoft.com/office/drawing/2014/main" id="{7507CF74-3C76-2F06-AB90-B5051D19A468}"/>
              </a:ext>
            </a:extLst>
          </p:cNvPr>
          <p:cNvCxnSpPr>
            <a:cxnSpLocks/>
          </p:cNvCxnSpPr>
          <p:nvPr/>
        </p:nvCxnSpPr>
        <p:spPr bwMode="gray">
          <a:xfrm>
            <a:off x="6759211" y="5909512"/>
            <a:ext cx="2046972" cy="0"/>
          </a:xfrm>
          <a:prstGeom prst="line">
            <a:avLst/>
          </a:prstGeom>
          <a:ln w="25400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1" name="Grenzstelle 2080">
            <a:extLst>
              <a:ext uri="{FF2B5EF4-FFF2-40B4-BE49-F238E27FC236}">
                <a16:creationId xmlns:a16="http://schemas.microsoft.com/office/drawing/2014/main" id="{411C571A-73BE-3F06-B0A8-BD92BB4A0BD7}"/>
              </a:ext>
            </a:extLst>
          </p:cNvPr>
          <p:cNvSpPr/>
          <p:nvPr/>
        </p:nvSpPr>
        <p:spPr bwMode="gray">
          <a:xfrm>
            <a:off x="8641248" y="5549472"/>
            <a:ext cx="2867828" cy="720080"/>
          </a:xfrm>
          <a:prstGeom prst="flowChartTerminator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spcAft>
                <a:spcPts val="600"/>
              </a:spcAft>
            </a:pPr>
            <a:r>
              <a:rPr lang="de-DE" sz="1600">
                <a:solidFill>
                  <a:schemeClr val="bg1"/>
                </a:solidFill>
                <a:latin typeface="+mj-lt"/>
              </a:rPr>
              <a:t>Technisch</a:t>
            </a:r>
          </a:p>
        </p:txBody>
      </p:sp>
    </p:spTree>
    <p:extLst>
      <p:ext uri="{BB962C8B-B14F-4D97-AF65-F5344CB8AC3E}">
        <p14:creationId xmlns:p14="http://schemas.microsoft.com/office/powerpoint/2010/main" val="8429310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D95EE1-6C51-FE90-ACB8-E2EC020B42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Wolke, Menschliches Gesicht, Himmel, Person enthält.&#10;&#10;Automatisch generierte Beschreibung">
            <a:extLst>
              <a:ext uri="{FF2B5EF4-FFF2-40B4-BE49-F238E27FC236}">
                <a16:creationId xmlns:a16="http://schemas.microsoft.com/office/drawing/2014/main" id="{E62F86E7-DA05-E290-9121-E32DDEA1E7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85583"/>
          </a:xfrm>
          <a:prstGeom prst="rect">
            <a:avLst/>
          </a:prstGeom>
        </p:spPr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09C23C55-8392-24FB-B53B-1C0A4565DDD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991544" y="4338000"/>
            <a:ext cx="10081120" cy="2520000"/>
          </a:xfrm>
        </p:spPr>
        <p:txBody>
          <a:bodyPr/>
          <a:lstStyle/>
          <a:p>
            <a:pPr lvl="0" algn="r"/>
            <a:r>
              <a:rPr lang="en-US" sz="4400">
                <a:solidFill>
                  <a:schemeClr val="bg1"/>
                </a:solidFill>
              </a:rPr>
              <a:t>Ansible </a:t>
            </a:r>
            <a:r>
              <a:rPr lang="en-US" sz="4400" err="1">
                <a:solidFill>
                  <a:schemeClr val="bg1"/>
                </a:solidFill>
              </a:rPr>
              <a:t>Herausforderungen</a:t>
            </a:r>
            <a:br>
              <a:rPr lang="en-US" sz="4400">
                <a:solidFill>
                  <a:schemeClr val="bg1"/>
                </a:solidFill>
              </a:rPr>
            </a:br>
            <a:r>
              <a:rPr lang="en-US" sz="4400" b="0" err="1">
                <a:solidFill>
                  <a:schemeClr val="bg1"/>
                </a:solidFill>
              </a:rPr>
              <a:t>Herausforderungen</a:t>
            </a:r>
            <a:r>
              <a:rPr lang="en-US" sz="4400" b="0">
                <a:solidFill>
                  <a:schemeClr val="bg1"/>
                </a:solidFill>
              </a:rPr>
              <a:t> </a:t>
            </a:r>
            <a:r>
              <a:rPr lang="en-US" sz="4400" b="0" err="1">
                <a:solidFill>
                  <a:schemeClr val="bg1"/>
                </a:solidFill>
              </a:rPr>
              <a:t>beim</a:t>
            </a:r>
            <a:r>
              <a:rPr lang="en-US" sz="4400" b="0">
                <a:solidFill>
                  <a:schemeClr val="bg1"/>
                </a:solidFill>
              </a:rPr>
              <a:t> </a:t>
            </a:r>
            <a:r>
              <a:rPr lang="en-US" sz="4400" b="0" err="1">
                <a:solidFill>
                  <a:schemeClr val="bg1"/>
                </a:solidFill>
              </a:rPr>
              <a:t>Einsatz</a:t>
            </a:r>
            <a:r>
              <a:rPr lang="en-US" sz="4400" b="0">
                <a:solidFill>
                  <a:schemeClr val="bg1"/>
                </a:solidFill>
              </a:rPr>
              <a:t> in IT-</a:t>
            </a:r>
            <a:r>
              <a:rPr lang="en-US" sz="4400" b="0" err="1">
                <a:solidFill>
                  <a:schemeClr val="bg1"/>
                </a:solidFill>
              </a:rPr>
              <a:t>Infrastruktur</a:t>
            </a:r>
            <a:r>
              <a:rPr lang="en-US" sz="4400" b="0">
                <a:solidFill>
                  <a:schemeClr val="bg1"/>
                </a:solidFill>
              </a:rPr>
              <a:t> &amp; Operations</a:t>
            </a:r>
            <a:br>
              <a:rPr lang="en-US" sz="4400">
                <a:solidFill>
                  <a:schemeClr val="bg1"/>
                </a:solidFill>
              </a:rPr>
            </a:br>
            <a:endParaRPr lang="de-DE" sz="4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6040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Bogen 138">
            <a:extLst>
              <a:ext uri="{FF2B5EF4-FFF2-40B4-BE49-F238E27FC236}">
                <a16:creationId xmlns:a16="http://schemas.microsoft.com/office/drawing/2014/main" id="{4CCC3CE1-C0F4-4E21-88F2-2256E9CAF2D2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16267023"/>
              <a:gd name="adj2" fmla="val 19587902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40" name="Bogen 139">
            <a:extLst>
              <a:ext uri="{FF2B5EF4-FFF2-40B4-BE49-F238E27FC236}">
                <a16:creationId xmlns:a16="http://schemas.microsoft.com/office/drawing/2014/main" id="{CCEC5190-8F99-43FB-AF7B-C722B0FFCEF8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19868235"/>
              <a:gd name="adj2" fmla="val 1694602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41" name="Bogen 140">
            <a:extLst>
              <a:ext uri="{FF2B5EF4-FFF2-40B4-BE49-F238E27FC236}">
                <a16:creationId xmlns:a16="http://schemas.microsoft.com/office/drawing/2014/main" id="{8142C5CB-0060-40EC-B77C-821C6E3F928E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1998923"/>
              <a:gd name="adj2" fmla="val 5310465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42" name="Bogen 141">
            <a:extLst>
              <a:ext uri="{FF2B5EF4-FFF2-40B4-BE49-F238E27FC236}">
                <a16:creationId xmlns:a16="http://schemas.microsoft.com/office/drawing/2014/main" id="{9A14DA10-B3A5-49E3-B25A-BB52F89E3288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5652146"/>
              <a:gd name="adj2" fmla="val 8907447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43" name="Bogen 142">
            <a:extLst>
              <a:ext uri="{FF2B5EF4-FFF2-40B4-BE49-F238E27FC236}">
                <a16:creationId xmlns:a16="http://schemas.microsoft.com/office/drawing/2014/main" id="{FBB6B4AA-18AE-44C0-9381-C48E5217977E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9190968"/>
              <a:gd name="adj2" fmla="val 12405860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44" name="Bogen 143">
            <a:extLst>
              <a:ext uri="{FF2B5EF4-FFF2-40B4-BE49-F238E27FC236}">
                <a16:creationId xmlns:a16="http://schemas.microsoft.com/office/drawing/2014/main" id="{611F4330-06EC-4360-9C23-46EA99222EAC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12725280"/>
              <a:gd name="adj2" fmla="val 15955087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grpSp>
        <p:nvGrpSpPr>
          <p:cNvPr id="170" name="Gruppieren 169">
            <a:extLst>
              <a:ext uri="{FF2B5EF4-FFF2-40B4-BE49-F238E27FC236}">
                <a16:creationId xmlns:a16="http://schemas.microsoft.com/office/drawing/2014/main" id="{A48681A3-417F-4B31-BF1B-6D79A34FCC77}"/>
              </a:ext>
            </a:extLst>
          </p:cNvPr>
          <p:cNvGrpSpPr/>
          <p:nvPr/>
        </p:nvGrpSpPr>
        <p:grpSpPr>
          <a:xfrm>
            <a:off x="5788764" y="1789374"/>
            <a:ext cx="1944216" cy="818371"/>
            <a:chOff x="9684421" y="3230866"/>
            <a:chExt cx="1944216" cy="818371"/>
          </a:xfrm>
        </p:grpSpPr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50C38875-4B9F-4F43-89B2-6C1BFF3207F6}"/>
                </a:ext>
              </a:extLst>
            </p:cNvPr>
            <p:cNvSpPr/>
            <p:nvPr/>
          </p:nvSpPr>
          <p:spPr>
            <a:xfrm>
              <a:off x="9684421" y="3717206"/>
              <a:ext cx="1944216" cy="242563"/>
            </a:xfrm>
            <a:prstGeom prst="rect">
              <a:avLst/>
            </a:prstGeom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200" b="0" i="0" u="none" strike="noStrike" kern="1200" cap="none" spc="0" normalizeH="0" noProof="0">
                  <a:ln>
                    <a:noFill/>
                  </a:ln>
                  <a:solidFill>
                    <a:srgbClr val="69635F"/>
                  </a:solidFill>
                  <a:effectLst/>
                  <a:uLnTx/>
                  <a:uFillTx/>
                </a:rPr>
                <a:t>Um </a:t>
              </a:r>
              <a:r>
                <a:rPr lang="de-DE" sz="1200" b="0" i="0" u="none" strike="noStrike" kern="1200" cap="none" spc="0" normalizeH="0" noProof="0" err="1">
                  <a:ln>
                    <a:noFill/>
                  </a:ln>
                  <a:solidFill>
                    <a:srgbClr val="69635F"/>
                  </a:solidFill>
                  <a:effectLst/>
                  <a:uLnTx/>
                  <a:uFillTx/>
                </a:rPr>
                <a:t>Ansible</a:t>
              </a:r>
              <a:r>
                <a:rPr lang="de-DE" sz="1200" b="0" i="0" u="none" strike="noStrike" kern="1200" cap="none" spc="0" normalizeH="0" noProof="0">
                  <a:ln>
                    <a:noFill/>
                  </a:ln>
                  <a:solidFill>
                    <a:srgbClr val="69635F"/>
                  </a:solidFill>
                  <a:effectLst/>
                  <a:uLnTx/>
                  <a:uFillTx/>
                </a:rPr>
                <a:t> effektiv zu nutzen, sind umfassende Schulungen nötig, besonders für traditionelle IT-Teams</a:t>
              </a:r>
              <a:endPara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69635F"/>
                </a:solidFill>
                <a:effectLst/>
                <a:uLnTx/>
                <a:uFillTx/>
                <a:ea typeface="Yu Gothic" panose="020B0400000000000000" pitchFamily="34" charset="-128"/>
                <a:cs typeface="Segoe UI Light" panose="020B0502040204020203" pitchFamily="34" charset="0"/>
              </a:endParaRPr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4666F9F7-D002-48DA-A7CA-35B55BC6AE75}"/>
                </a:ext>
              </a:extLst>
            </p:cNvPr>
            <p:cNvSpPr/>
            <p:nvPr/>
          </p:nvSpPr>
          <p:spPr>
            <a:xfrm>
              <a:off x="9710040" y="3230866"/>
              <a:ext cx="1796181" cy="818371"/>
            </a:xfrm>
            <a:prstGeom prst="rect">
              <a:avLst/>
            </a:prstGeom>
          </p:spPr>
          <p:txBody>
            <a:bodyPr wrap="square" lIns="0" tIns="1800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600" b="1" i="0" u="none" strike="noStrike" kern="1200" cap="none" spc="0" normalizeH="0" noProof="0">
                  <a:ln>
                    <a:noFill/>
                  </a:ln>
                  <a:solidFill>
                    <a:srgbClr val="0032A0"/>
                  </a:solidFill>
                  <a:effectLst/>
                  <a:uLnTx/>
                  <a:uFillTx/>
                  <a:latin typeface="+mj-lt"/>
                </a:rPr>
                <a:t>Schulungsbedarf</a:t>
              </a:r>
              <a:endPara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endParaRPr>
            </a:p>
          </p:txBody>
        </p:sp>
      </p:grpSp>
      <p:sp>
        <p:nvSpPr>
          <p:cNvPr id="10" name="Titel 2">
            <a:extLst>
              <a:ext uri="{FF2B5EF4-FFF2-40B4-BE49-F238E27FC236}">
                <a16:creationId xmlns:a16="http://schemas.microsoft.com/office/drawing/2014/main" id="{9AFA4472-18BB-38ED-AB63-301E3093B091}"/>
              </a:ext>
            </a:extLst>
          </p:cNvPr>
          <p:cNvSpPr txBox="1">
            <a:spLocks/>
          </p:cNvSpPr>
          <p:nvPr/>
        </p:nvSpPr>
        <p:spPr>
          <a:xfrm>
            <a:off x="4936476" y="692804"/>
            <a:ext cx="5984060" cy="791980"/>
          </a:xfrm>
          <a:prstGeom prst="rect">
            <a:avLst/>
          </a:prstGeom>
        </p:spPr>
        <p:txBody>
          <a:bodyPr lIns="0" tIns="0" rIns="0" bIns="0" rtlCol="0" anchor="b" anchorCtr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tx1"/>
                </a:solidFill>
                <a:latin typeface="+mj-lt"/>
                <a:ea typeface="+mj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en-US" sz="3600"/>
            </a:br>
            <a:r>
              <a:rPr lang="de-DE" sz="3600"/>
              <a:t>Schulung und Akzeptanz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CEA45E4-5E55-0011-70EE-68DC8FF85B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5716" y="6453352"/>
            <a:ext cx="874284" cy="144000"/>
          </a:xfrm>
          <a:prstGeom prst="rect">
            <a:avLst/>
          </a:prstGeom>
        </p:spPr>
      </p:pic>
      <p:sp>
        <p:nvSpPr>
          <p:cNvPr id="5" name="Textplatzhalter 17">
            <a:extLst>
              <a:ext uri="{FF2B5EF4-FFF2-40B4-BE49-F238E27FC236}">
                <a16:creationId xmlns:a16="http://schemas.microsoft.com/office/drawing/2014/main" id="{4866DB77-503B-1002-47B8-0AE015604BDA}"/>
              </a:ext>
            </a:extLst>
          </p:cNvPr>
          <p:cNvSpPr txBox="1">
            <a:spLocks/>
          </p:cNvSpPr>
          <p:nvPr/>
        </p:nvSpPr>
        <p:spPr bwMode="gray">
          <a:xfrm>
            <a:off x="6760872" y="3265690"/>
            <a:ext cx="3075676" cy="26429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600" b="0" cap="none" baseline="0" smtClean="0">
                <a:ea typeface="+mj-ea"/>
                <a:cs typeface="Segoe UI Light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b="0" cap="none" baseline="0" smtClean="0"/>
            </a:lvl2pPr>
            <a:lvl3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lang="de-DE" b="0" smtClean="0"/>
            </a:lvl3pPr>
            <a:lvl4pPr marL="432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de-DE" b="0" smtClean="0"/>
            </a:lvl4pPr>
            <a:lvl5pPr marL="648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GB" b="0"/>
            </a:lvl5pPr>
            <a:lvl6pPr marL="864000" marR="0" indent="-2160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6pPr>
            <a:lvl7pPr marL="864000" marR="0" indent="-2160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7pPr>
            <a:lvl8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8pPr>
            <a:lvl9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9pPr>
          </a:lstStyle>
          <a:p>
            <a:pPr rtl="0">
              <a:spcAft>
                <a:spcPts val="0"/>
              </a:spcAft>
            </a:pPr>
            <a:r>
              <a:rPr lang="de-DE" sz="4400" b="1">
                <a:latin typeface="+mj-lt"/>
              </a:rPr>
              <a:t>01</a:t>
            </a:r>
            <a:endParaRPr lang="de-DE" sz="1800" b="1">
              <a:latin typeface="+mj-lt"/>
            </a:endParaRPr>
          </a:p>
          <a:p>
            <a:pPr rtl="0">
              <a:spcAft>
                <a:spcPts val="0"/>
              </a:spcAft>
            </a:pPr>
            <a:endParaRPr lang="de-DE" sz="1050"/>
          </a:p>
          <a:p>
            <a:pPr rtl="0">
              <a:spcAft>
                <a:spcPts val="0"/>
              </a:spcAft>
            </a:pPr>
            <a:r>
              <a:rPr lang="de-DE" sz="1400" b="1"/>
              <a:t>Schulung und Akzeptanz </a:t>
            </a:r>
            <a:br>
              <a:rPr lang="de-DE" sz="1400" b="1"/>
            </a:br>
            <a:r>
              <a:rPr lang="de-DE" sz="1400" b="1"/>
              <a:t>neuer Technologien</a:t>
            </a:r>
          </a:p>
          <a:p>
            <a:pPr rtl="0">
              <a:spcAft>
                <a:spcPts val="0"/>
              </a:spcAft>
            </a:pPr>
            <a:endParaRPr lang="de-DE" sz="105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2401EE89-6091-429B-1C3A-AC82637B7067}"/>
              </a:ext>
            </a:extLst>
          </p:cNvPr>
          <p:cNvGrpSpPr/>
          <p:nvPr/>
        </p:nvGrpSpPr>
        <p:grpSpPr>
          <a:xfrm>
            <a:off x="9264352" y="1838335"/>
            <a:ext cx="2558118" cy="818371"/>
            <a:chOff x="9684421" y="3230866"/>
            <a:chExt cx="2558118" cy="818371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AC90AF48-7250-1AAD-FB50-9EA65E52581A}"/>
                </a:ext>
              </a:extLst>
            </p:cNvPr>
            <p:cNvSpPr/>
            <p:nvPr/>
          </p:nvSpPr>
          <p:spPr>
            <a:xfrm>
              <a:off x="9684421" y="3717207"/>
              <a:ext cx="2558118" cy="317842"/>
            </a:xfrm>
            <a:prstGeom prst="rect">
              <a:avLst/>
            </a:prstGeom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200" b="0" i="0" u="none" strike="noStrike" kern="1200" cap="none" spc="0" normalizeH="0" noProof="0">
                  <a:ln>
                    <a:noFill/>
                  </a:ln>
                  <a:solidFill>
                    <a:srgbClr val="69635F"/>
                  </a:solidFill>
                  <a:effectLst/>
                  <a:uLnTx/>
                  <a:uFillTx/>
                </a:rPr>
                <a:t>Der Wechsel zu neuen Tools erfordert Wissenstransfer, der Zeit und Ressourcen beansprucht.</a:t>
              </a:r>
              <a:endPara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69635F"/>
                </a:solidFill>
                <a:effectLst/>
                <a:uLnTx/>
                <a:uFillTx/>
                <a:ea typeface="Yu Gothic" panose="020B0400000000000000" pitchFamily="34" charset="-128"/>
                <a:cs typeface="Segoe UI Light" panose="020B0502040204020203" pitchFamily="34" charset="0"/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9E87A04-3972-A5B2-F017-76561C12B3E9}"/>
                </a:ext>
              </a:extLst>
            </p:cNvPr>
            <p:cNvSpPr/>
            <p:nvPr/>
          </p:nvSpPr>
          <p:spPr>
            <a:xfrm>
              <a:off x="9710040" y="3230866"/>
              <a:ext cx="2110727" cy="818371"/>
            </a:xfrm>
            <a:prstGeom prst="rect">
              <a:avLst/>
            </a:prstGeom>
          </p:spPr>
          <p:txBody>
            <a:bodyPr wrap="square" lIns="0" tIns="1800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600" b="1" i="0" u="none" strike="noStrike" kern="1200" cap="none" spc="0" normalizeH="0" noProof="0" err="1">
                  <a:ln>
                    <a:noFill/>
                  </a:ln>
                  <a:solidFill>
                    <a:srgbClr val="0032A0"/>
                  </a:solidFill>
                  <a:effectLst/>
                  <a:uLnTx/>
                  <a:uFillTx/>
                  <a:latin typeface="+mj-lt"/>
                </a:rPr>
                <a:t>Know-How</a:t>
              </a:r>
              <a:r>
                <a:rPr lang="de-DE" sz="1600" b="1" i="0" u="none" strike="noStrike" kern="1200" cap="none" spc="0" normalizeH="0" noProof="0">
                  <a:ln>
                    <a:noFill/>
                  </a:ln>
                  <a:solidFill>
                    <a:srgbClr val="0032A0"/>
                  </a:solidFill>
                  <a:effectLst/>
                  <a:uLnTx/>
                  <a:uFillTx/>
                  <a:latin typeface="+mj-lt"/>
                </a:rPr>
                <a:t> Transfer</a:t>
              </a:r>
              <a:endPara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5ED887E-5DF0-1B69-9803-3D6967DE03B9}"/>
              </a:ext>
            </a:extLst>
          </p:cNvPr>
          <p:cNvGrpSpPr/>
          <p:nvPr/>
        </p:nvGrpSpPr>
        <p:grpSpPr>
          <a:xfrm>
            <a:off x="9264352" y="4928015"/>
            <a:ext cx="1821800" cy="907838"/>
            <a:chOff x="9684421" y="3230866"/>
            <a:chExt cx="1821800" cy="907838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076BDC8-886C-2A17-9820-F5BA12A2F22D}"/>
                </a:ext>
              </a:extLst>
            </p:cNvPr>
            <p:cNvSpPr/>
            <p:nvPr/>
          </p:nvSpPr>
          <p:spPr>
            <a:xfrm>
              <a:off x="9684421" y="3903890"/>
              <a:ext cx="1796180" cy="234814"/>
            </a:xfrm>
            <a:prstGeom prst="rect">
              <a:avLst/>
            </a:prstGeom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200" b="0" i="0" u="none" strike="noStrike" kern="1200" cap="none" spc="0" normalizeH="0" noProof="0">
                  <a:ln>
                    <a:noFill/>
                  </a:ln>
                  <a:solidFill>
                    <a:srgbClr val="69635F"/>
                  </a:solidFill>
                  <a:effectLst/>
                  <a:uLnTx/>
                  <a:uFillTx/>
                </a:rPr>
                <a:t>Neue Tools stoßen oft auf Widerstand, besonders bei etablierten Teams, die an ihren Prozessen festhalten.</a:t>
              </a:r>
              <a:endPara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69635F"/>
                </a:solidFill>
                <a:effectLst/>
                <a:uLnTx/>
                <a:uFillTx/>
                <a:ea typeface="Yu Gothic" panose="020B0400000000000000" pitchFamily="34" charset="-128"/>
                <a:cs typeface="Segoe UI Light" panose="020B0502040204020203" pitchFamily="34" charset="0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E6806FE-3E60-D335-04B2-3C2E09BEAE18}"/>
                </a:ext>
              </a:extLst>
            </p:cNvPr>
            <p:cNvSpPr/>
            <p:nvPr/>
          </p:nvSpPr>
          <p:spPr>
            <a:xfrm>
              <a:off x="9710040" y="3230866"/>
              <a:ext cx="1796181" cy="818371"/>
            </a:xfrm>
            <a:prstGeom prst="rect">
              <a:avLst/>
            </a:prstGeom>
          </p:spPr>
          <p:txBody>
            <a:bodyPr wrap="square" lIns="0" tIns="180000" rIns="0" bIns="0" rtlCol="0" anchor="t" anchorCtr="0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600" b="1" i="0" u="none" strike="noStrike" kern="1200" cap="none" spc="0" normalizeH="0" noProof="0">
                  <a:ln>
                    <a:noFill/>
                  </a:ln>
                  <a:solidFill>
                    <a:srgbClr val="0032A0"/>
                  </a:solidFill>
                  <a:effectLst/>
                  <a:uLnTx/>
                  <a:uFillTx/>
                  <a:latin typeface="+mj-lt"/>
                </a:rPr>
                <a:t>Kulturelle Widerstände</a:t>
              </a:r>
              <a:endPara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B3281F45-101A-F948-2A55-C1C301DD0B49}"/>
              </a:ext>
            </a:extLst>
          </p:cNvPr>
          <p:cNvGrpSpPr/>
          <p:nvPr/>
        </p:nvGrpSpPr>
        <p:grpSpPr>
          <a:xfrm>
            <a:off x="5787717" y="4896704"/>
            <a:ext cx="2189384" cy="818371"/>
            <a:chOff x="9316838" y="3230866"/>
            <a:chExt cx="2189384" cy="818371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D4CB90E1-5ECF-C066-7A0A-7C96406560D6}"/>
                </a:ext>
              </a:extLst>
            </p:cNvPr>
            <p:cNvSpPr/>
            <p:nvPr/>
          </p:nvSpPr>
          <p:spPr>
            <a:xfrm>
              <a:off x="9316838" y="3728386"/>
              <a:ext cx="1796180" cy="234814"/>
            </a:xfrm>
            <a:prstGeom prst="rect">
              <a:avLst/>
            </a:prstGeom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200" b="0" i="0" u="none" strike="noStrike" kern="1200" cap="none" spc="0" normalizeH="0" noProof="0">
                  <a:ln>
                    <a:noFill/>
                  </a:ln>
                  <a:solidFill>
                    <a:srgbClr val="69635F"/>
                  </a:solidFill>
                  <a:effectLst/>
                  <a:uLnTx/>
                  <a:uFillTx/>
                </a:rPr>
                <a:t>Management und Teamleiter Förderung, um  den Wandel </a:t>
              </a:r>
              <a:r>
                <a:rPr lang="de-DE" sz="1200">
                  <a:solidFill>
                    <a:srgbClr val="69635F"/>
                  </a:solidFill>
                </a:rPr>
                <a:t> und Akzeptanz </a:t>
              </a:r>
              <a:r>
                <a:rPr lang="de-DE" sz="1200" b="0" i="0" u="none" strike="noStrike" kern="1200" cap="none" spc="0" normalizeH="0" noProof="0">
                  <a:ln>
                    <a:noFill/>
                  </a:ln>
                  <a:solidFill>
                    <a:srgbClr val="69635F"/>
                  </a:solidFill>
                  <a:effectLst/>
                  <a:uLnTx/>
                  <a:uFillTx/>
                </a:rPr>
                <a:t>zu fördern</a:t>
              </a:r>
              <a:endPara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69635F"/>
                </a:solidFill>
                <a:effectLst/>
                <a:uLnTx/>
                <a:uFillTx/>
                <a:ea typeface="Yu Gothic" panose="020B0400000000000000" pitchFamily="34" charset="-128"/>
                <a:cs typeface="Segoe UI Light" panose="020B0502040204020203" pitchFamily="34" charset="0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EFA25F7D-8AE2-5474-DD17-834982EC5232}"/>
                </a:ext>
              </a:extLst>
            </p:cNvPr>
            <p:cNvSpPr/>
            <p:nvPr/>
          </p:nvSpPr>
          <p:spPr>
            <a:xfrm>
              <a:off x="9338636" y="3230866"/>
              <a:ext cx="2167586" cy="818371"/>
            </a:xfrm>
            <a:prstGeom prst="rect">
              <a:avLst/>
            </a:prstGeom>
          </p:spPr>
          <p:txBody>
            <a:bodyPr wrap="square" lIns="0" tIns="1800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600" b="1" i="0" u="none" strike="noStrike" kern="1200" cap="none" spc="0" normalizeH="0" noProof="0">
                  <a:ln>
                    <a:noFill/>
                  </a:ln>
                  <a:solidFill>
                    <a:srgbClr val="0032A0"/>
                  </a:solidFill>
                  <a:effectLst/>
                  <a:uLnTx/>
                  <a:uFillTx/>
                  <a:latin typeface="+mj-lt"/>
                </a:rPr>
                <a:t>Akzeptanzprobleme</a:t>
              </a:r>
              <a:endPara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endParaRPr>
            </a:p>
          </p:txBody>
        </p:sp>
      </p:grpSp>
      <p:pic>
        <p:nvPicPr>
          <p:cNvPr id="16" name="Grafik 15" descr="Ein Bild, das drinnen, Decke enthält.&#10;&#10;Automatisch generierte Beschreibung">
            <a:extLst>
              <a:ext uri="{FF2B5EF4-FFF2-40B4-BE49-F238E27FC236}">
                <a16:creationId xmlns:a16="http://schemas.microsoft.com/office/drawing/2014/main" id="{186EB231-AE6E-6191-25B3-1083713F2EC3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l="23296" r="18964"/>
          <a:stretch/>
        </p:blipFill>
        <p:spPr bwMode="gray">
          <a:xfrm>
            <a:off x="-1365269" y="4812"/>
            <a:ext cx="5950800" cy="6858000"/>
          </a:xfrm>
          <a:prstGeom prst="rect">
            <a:avLst/>
          </a:prstGeom>
        </p:spPr>
      </p:pic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971D23CA-F918-DC8D-EA6F-CAB255E8D97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49B1E2F7-A06C-C50C-4895-53092882D4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6235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E37087-8F56-24CF-6BF6-7A6D3D730F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Bogen 138">
            <a:extLst>
              <a:ext uri="{FF2B5EF4-FFF2-40B4-BE49-F238E27FC236}">
                <a16:creationId xmlns:a16="http://schemas.microsoft.com/office/drawing/2014/main" id="{D099D970-5F78-FB7A-4AB1-08062499E7BC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16267023"/>
              <a:gd name="adj2" fmla="val 19587902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40" name="Bogen 139">
            <a:extLst>
              <a:ext uri="{FF2B5EF4-FFF2-40B4-BE49-F238E27FC236}">
                <a16:creationId xmlns:a16="http://schemas.microsoft.com/office/drawing/2014/main" id="{5178BDC1-CB75-964A-6380-7F893E32647C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19868235"/>
              <a:gd name="adj2" fmla="val 1694602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41" name="Bogen 140">
            <a:extLst>
              <a:ext uri="{FF2B5EF4-FFF2-40B4-BE49-F238E27FC236}">
                <a16:creationId xmlns:a16="http://schemas.microsoft.com/office/drawing/2014/main" id="{D01E9F21-6315-10E6-72FE-4A3124808079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1998923"/>
              <a:gd name="adj2" fmla="val 5310465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42" name="Bogen 141">
            <a:extLst>
              <a:ext uri="{FF2B5EF4-FFF2-40B4-BE49-F238E27FC236}">
                <a16:creationId xmlns:a16="http://schemas.microsoft.com/office/drawing/2014/main" id="{FACD155D-D022-D3A1-730B-816E3A6E65C9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5652146"/>
              <a:gd name="adj2" fmla="val 8907447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43" name="Bogen 142">
            <a:extLst>
              <a:ext uri="{FF2B5EF4-FFF2-40B4-BE49-F238E27FC236}">
                <a16:creationId xmlns:a16="http://schemas.microsoft.com/office/drawing/2014/main" id="{6A201D51-A138-0A02-E92D-F8AAB6E58EE5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9190968"/>
              <a:gd name="adj2" fmla="val 12405860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44" name="Bogen 143">
            <a:extLst>
              <a:ext uri="{FF2B5EF4-FFF2-40B4-BE49-F238E27FC236}">
                <a16:creationId xmlns:a16="http://schemas.microsoft.com/office/drawing/2014/main" id="{7AAF04CB-BF8B-E399-DC6D-D8FBAA153AD2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12725280"/>
              <a:gd name="adj2" fmla="val 15955087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grpSp>
        <p:nvGrpSpPr>
          <p:cNvPr id="170" name="Gruppieren 169">
            <a:extLst>
              <a:ext uri="{FF2B5EF4-FFF2-40B4-BE49-F238E27FC236}">
                <a16:creationId xmlns:a16="http://schemas.microsoft.com/office/drawing/2014/main" id="{30CB377D-EF65-280F-57C8-18A4ABE0EF49}"/>
              </a:ext>
            </a:extLst>
          </p:cNvPr>
          <p:cNvGrpSpPr/>
          <p:nvPr/>
        </p:nvGrpSpPr>
        <p:grpSpPr>
          <a:xfrm>
            <a:off x="5788764" y="1789374"/>
            <a:ext cx="1944216" cy="818371"/>
            <a:chOff x="9684421" y="3230866"/>
            <a:chExt cx="1944216" cy="818371"/>
          </a:xfrm>
        </p:grpSpPr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95B4F5C9-13C9-B6C9-ABD5-331BC8319E97}"/>
                </a:ext>
              </a:extLst>
            </p:cNvPr>
            <p:cNvSpPr/>
            <p:nvPr/>
          </p:nvSpPr>
          <p:spPr>
            <a:xfrm>
              <a:off x="9684421" y="3717206"/>
              <a:ext cx="1944216" cy="242563"/>
            </a:xfrm>
            <a:prstGeom prst="rect">
              <a:avLst/>
            </a:prstGeom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200" b="0" i="0" u="none" strike="noStrike" kern="1200" cap="none" spc="0" normalizeH="0" noProof="0">
                  <a:ln>
                    <a:noFill/>
                  </a:ln>
                  <a:solidFill>
                    <a:srgbClr val="69635F"/>
                  </a:solidFill>
                  <a:effectLst/>
                  <a:uLnTx/>
                  <a:uFillTx/>
                </a:rPr>
                <a:t>Die Integration in eine komplexe IT-Infrastruktur mit unterschiedlichen Systemen und Technologien kann herausfordernd sein</a:t>
              </a:r>
              <a:endPara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69635F"/>
                </a:solidFill>
                <a:effectLst/>
                <a:uLnTx/>
                <a:uFillTx/>
                <a:ea typeface="Yu Gothic" panose="020B0400000000000000" pitchFamily="34" charset="-128"/>
                <a:cs typeface="Segoe UI Light" panose="020B0502040204020203" pitchFamily="34" charset="0"/>
              </a:endParaRPr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AEA58A2C-39EA-09B3-34D6-F949738E8214}"/>
                </a:ext>
              </a:extLst>
            </p:cNvPr>
            <p:cNvSpPr/>
            <p:nvPr/>
          </p:nvSpPr>
          <p:spPr>
            <a:xfrm>
              <a:off x="9710040" y="3230866"/>
              <a:ext cx="1796181" cy="818371"/>
            </a:xfrm>
            <a:prstGeom prst="rect">
              <a:avLst/>
            </a:prstGeom>
          </p:spPr>
          <p:txBody>
            <a:bodyPr wrap="square" lIns="0" tIns="1800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600" b="1" i="0" u="none" strike="noStrike" kern="1200" cap="none" spc="0" normalizeH="0" noProof="0">
                  <a:ln>
                    <a:noFill/>
                  </a:ln>
                  <a:solidFill>
                    <a:srgbClr val="0032A0"/>
                  </a:solidFill>
                  <a:effectLst/>
                  <a:uLnTx/>
                  <a:uFillTx/>
                  <a:latin typeface="+mj-lt"/>
                </a:rPr>
                <a:t>Integration</a:t>
              </a:r>
              <a:endPara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endParaRPr>
            </a:p>
          </p:txBody>
        </p:sp>
      </p:grpSp>
      <p:sp>
        <p:nvSpPr>
          <p:cNvPr id="10" name="Titel 2">
            <a:extLst>
              <a:ext uri="{FF2B5EF4-FFF2-40B4-BE49-F238E27FC236}">
                <a16:creationId xmlns:a16="http://schemas.microsoft.com/office/drawing/2014/main" id="{35042388-ABD3-247E-A639-2762356D60B8}"/>
              </a:ext>
            </a:extLst>
          </p:cNvPr>
          <p:cNvSpPr txBox="1">
            <a:spLocks/>
          </p:cNvSpPr>
          <p:nvPr/>
        </p:nvSpPr>
        <p:spPr>
          <a:xfrm>
            <a:off x="4936476" y="692804"/>
            <a:ext cx="5984060" cy="791980"/>
          </a:xfrm>
          <a:prstGeom prst="rect">
            <a:avLst/>
          </a:prstGeom>
        </p:spPr>
        <p:txBody>
          <a:bodyPr lIns="0" tIns="0" rIns="0" bIns="0" rtlCol="0" anchor="b" anchorCtr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tx1"/>
                </a:solidFill>
                <a:latin typeface="+mj-lt"/>
                <a:ea typeface="+mj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3600"/>
              <a:t>Technische Herausforderungen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860FA5E-5868-BA42-278C-524842D208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5716" y="6453352"/>
            <a:ext cx="874284" cy="144000"/>
          </a:xfrm>
          <a:prstGeom prst="rect">
            <a:avLst/>
          </a:prstGeom>
        </p:spPr>
      </p:pic>
      <p:sp>
        <p:nvSpPr>
          <p:cNvPr id="5" name="Textplatzhalter 17">
            <a:extLst>
              <a:ext uri="{FF2B5EF4-FFF2-40B4-BE49-F238E27FC236}">
                <a16:creationId xmlns:a16="http://schemas.microsoft.com/office/drawing/2014/main" id="{47BDDD2B-0CE9-645B-682A-C087E29A890E}"/>
              </a:ext>
            </a:extLst>
          </p:cNvPr>
          <p:cNvSpPr txBox="1">
            <a:spLocks/>
          </p:cNvSpPr>
          <p:nvPr/>
        </p:nvSpPr>
        <p:spPr bwMode="gray">
          <a:xfrm>
            <a:off x="6760872" y="3265690"/>
            <a:ext cx="3075676" cy="26429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600" b="0" cap="none" baseline="0" smtClean="0">
                <a:ea typeface="+mj-ea"/>
                <a:cs typeface="Segoe UI Light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b="0" cap="none" baseline="0" smtClean="0"/>
            </a:lvl2pPr>
            <a:lvl3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lang="de-DE" b="0" smtClean="0"/>
            </a:lvl3pPr>
            <a:lvl4pPr marL="432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de-DE" b="0" smtClean="0"/>
            </a:lvl4pPr>
            <a:lvl5pPr marL="648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GB" b="0"/>
            </a:lvl5pPr>
            <a:lvl6pPr marL="864000" marR="0" indent="-2160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6pPr>
            <a:lvl7pPr marL="864000" marR="0" indent="-2160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7pPr>
            <a:lvl8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8pPr>
            <a:lvl9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9pPr>
          </a:lstStyle>
          <a:p>
            <a:pPr rtl="0">
              <a:spcAft>
                <a:spcPts val="0"/>
              </a:spcAft>
            </a:pPr>
            <a:r>
              <a:rPr lang="de-DE" sz="4400" b="1">
                <a:latin typeface="+mj-lt"/>
              </a:rPr>
              <a:t>02</a:t>
            </a:r>
            <a:endParaRPr lang="de-DE" sz="1800" b="1">
              <a:latin typeface="+mj-lt"/>
            </a:endParaRPr>
          </a:p>
          <a:p>
            <a:pPr rtl="0">
              <a:spcAft>
                <a:spcPts val="0"/>
              </a:spcAft>
            </a:pPr>
            <a:endParaRPr lang="de-DE" sz="1050"/>
          </a:p>
          <a:p>
            <a:pPr rtl="0">
              <a:spcAft>
                <a:spcPts val="0"/>
              </a:spcAft>
            </a:pPr>
            <a:r>
              <a:rPr lang="de-DE" sz="1400" b="1"/>
              <a:t>Technische Hürden</a:t>
            </a:r>
          </a:p>
          <a:p>
            <a:pPr rtl="0">
              <a:spcAft>
                <a:spcPts val="0"/>
              </a:spcAft>
            </a:pPr>
            <a:endParaRPr lang="de-DE" sz="105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ABFDB92D-4A46-5786-131F-A609E0C8E4ED}"/>
              </a:ext>
            </a:extLst>
          </p:cNvPr>
          <p:cNvGrpSpPr/>
          <p:nvPr/>
        </p:nvGrpSpPr>
        <p:grpSpPr>
          <a:xfrm>
            <a:off x="9264352" y="1838335"/>
            <a:ext cx="2558118" cy="818371"/>
            <a:chOff x="9684421" y="3230866"/>
            <a:chExt cx="2558118" cy="818371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F67481E6-CE25-1660-0F01-47FF8E8E9DEE}"/>
                </a:ext>
              </a:extLst>
            </p:cNvPr>
            <p:cNvSpPr/>
            <p:nvPr/>
          </p:nvSpPr>
          <p:spPr>
            <a:xfrm>
              <a:off x="9684421" y="3717207"/>
              <a:ext cx="2558118" cy="317842"/>
            </a:xfrm>
            <a:prstGeom prst="rect">
              <a:avLst/>
            </a:prstGeom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200" b="0" i="0" u="none" strike="noStrike" kern="1200" cap="none" spc="0" normalizeH="0" noProof="0">
                  <a:ln>
                    <a:noFill/>
                  </a:ln>
                  <a:solidFill>
                    <a:srgbClr val="69635F"/>
                  </a:solidFill>
                  <a:effectLst/>
                  <a:uLnTx/>
                  <a:uFillTx/>
                </a:rPr>
                <a:t>Bei größeren Infrastrukturen kann die Skalierung und Verwaltung von </a:t>
              </a:r>
              <a:r>
                <a:rPr lang="de-DE" sz="1200" b="0" i="0" u="none" strike="noStrike" kern="1200" cap="none" spc="0" normalizeH="0" noProof="0" err="1">
                  <a:ln>
                    <a:noFill/>
                  </a:ln>
                  <a:solidFill>
                    <a:srgbClr val="69635F"/>
                  </a:solidFill>
                  <a:effectLst/>
                  <a:uLnTx/>
                  <a:uFillTx/>
                </a:rPr>
                <a:t>Ansible</a:t>
              </a:r>
              <a:r>
                <a:rPr lang="de-DE" sz="1200" b="0" i="0" u="none" strike="noStrike" kern="1200" cap="none" spc="0" normalizeH="0" noProof="0">
                  <a:ln>
                    <a:noFill/>
                  </a:ln>
                  <a:solidFill>
                    <a:srgbClr val="69635F"/>
                  </a:solidFill>
                  <a:effectLst/>
                  <a:uLnTx/>
                  <a:uFillTx/>
                </a:rPr>
                <a:t> herausfordernd sein.</a:t>
              </a:r>
              <a:endPara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69635F"/>
                </a:solidFill>
                <a:effectLst/>
                <a:uLnTx/>
                <a:uFillTx/>
                <a:ea typeface="Yu Gothic" panose="020B0400000000000000" pitchFamily="34" charset="-128"/>
                <a:cs typeface="Segoe UI Light" panose="020B0502040204020203" pitchFamily="34" charset="0"/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55F1B1B5-0C03-630A-2ECE-E53BBE223709}"/>
                </a:ext>
              </a:extLst>
            </p:cNvPr>
            <p:cNvSpPr/>
            <p:nvPr/>
          </p:nvSpPr>
          <p:spPr>
            <a:xfrm>
              <a:off x="9710040" y="3230866"/>
              <a:ext cx="2110727" cy="818371"/>
            </a:xfrm>
            <a:prstGeom prst="rect">
              <a:avLst/>
            </a:prstGeom>
          </p:spPr>
          <p:txBody>
            <a:bodyPr wrap="square" lIns="0" tIns="1800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600" b="1" i="0" u="none" strike="noStrike" kern="1200" cap="none" spc="0" normalizeH="0" noProof="0">
                  <a:ln>
                    <a:noFill/>
                  </a:ln>
                  <a:solidFill>
                    <a:srgbClr val="0032A0"/>
                  </a:solidFill>
                  <a:effectLst/>
                  <a:uLnTx/>
                  <a:uFillTx/>
                  <a:latin typeface="+mj-lt"/>
                </a:rPr>
                <a:t>Skalierung</a:t>
              </a:r>
              <a:endPara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F429898C-9103-A273-973C-773882669291}"/>
              </a:ext>
            </a:extLst>
          </p:cNvPr>
          <p:cNvGrpSpPr/>
          <p:nvPr/>
        </p:nvGrpSpPr>
        <p:grpSpPr>
          <a:xfrm>
            <a:off x="9265398" y="5116821"/>
            <a:ext cx="2517962" cy="818371"/>
            <a:chOff x="9684420" y="3230866"/>
            <a:chExt cx="2517962" cy="818371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75C62A60-9C9E-E571-B6B0-95704E55F4E9}"/>
                </a:ext>
              </a:extLst>
            </p:cNvPr>
            <p:cNvSpPr/>
            <p:nvPr/>
          </p:nvSpPr>
          <p:spPr>
            <a:xfrm>
              <a:off x="9684420" y="3756503"/>
              <a:ext cx="2517962" cy="292734"/>
            </a:xfrm>
            <a:prstGeom prst="rect">
              <a:avLst/>
            </a:prstGeom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200" b="0" i="0" u="none" strike="noStrike" kern="1200" cap="none" spc="0" normalizeH="0" noProof="0">
                  <a:ln>
                    <a:noFill/>
                  </a:ln>
                  <a:solidFill>
                    <a:srgbClr val="69635F"/>
                  </a:solidFill>
                  <a:effectLst/>
                  <a:uLnTx/>
                  <a:uFillTx/>
                </a:rPr>
                <a:t>Einige Community-Module bieten möglicherweise nicht denselben Support und dieselbe Stabilität wie </a:t>
              </a:r>
              <a:r>
                <a:rPr lang="de-DE" sz="1200" b="0" i="0" u="none" strike="noStrike" kern="1200" cap="none" spc="0" normalizeH="0" noProof="0" err="1">
                  <a:ln>
                    <a:noFill/>
                  </a:ln>
                  <a:solidFill>
                    <a:srgbClr val="69635F"/>
                  </a:solidFill>
                  <a:effectLst/>
                  <a:uLnTx/>
                  <a:uFillTx/>
                </a:rPr>
                <a:t>Red</a:t>
              </a:r>
              <a:r>
                <a:rPr lang="de-DE" sz="1200" b="0" i="0" u="none" strike="noStrike" kern="1200" cap="none" spc="0" normalizeH="0" noProof="0">
                  <a:ln>
                    <a:noFill/>
                  </a:ln>
                  <a:solidFill>
                    <a:srgbClr val="69635F"/>
                  </a:solidFill>
                  <a:effectLst/>
                  <a:uLnTx/>
                  <a:uFillTx/>
                </a:rPr>
                <a:t> Hat-gepflegte Module.</a:t>
              </a:r>
              <a:endPara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69635F"/>
                </a:solidFill>
                <a:effectLst/>
                <a:uLnTx/>
                <a:uFillTx/>
                <a:ea typeface="Yu Gothic" panose="020B0400000000000000" pitchFamily="34" charset="-128"/>
                <a:cs typeface="Segoe UI Light" panose="020B0502040204020203" pitchFamily="34" charset="0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C7A205B4-32B6-4F0B-9F24-F01B4681F18F}"/>
                </a:ext>
              </a:extLst>
            </p:cNvPr>
            <p:cNvSpPr/>
            <p:nvPr/>
          </p:nvSpPr>
          <p:spPr>
            <a:xfrm>
              <a:off x="9710040" y="3230866"/>
              <a:ext cx="2167586" cy="818371"/>
            </a:xfrm>
            <a:prstGeom prst="rect">
              <a:avLst/>
            </a:prstGeom>
          </p:spPr>
          <p:txBody>
            <a:bodyPr wrap="square" lIns="0" tIns="180000" rIns="0" bIns="0" rtlCol="0" anchor="t" anchorCtr="0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600" b="1" i="0" u="none" strike="noStrike" kern="1200" cap="none" spc="0" normalizeH="0" noProof="0">
                  <a:ln>
                    <a:noFill/>
                  </a:ln>
                  <a:solidFill>
                    <a:srgbClr val="0032A0"/>
                  </a:solidFill>
                  <a:effectLst/>
                  <a:uLnTx/>
                  <a:uFillTx/>
                  <a:latin typeface="+mj-lt"/>
                </a:rPr>
                <a:t>Qualität &amp; Support</a:t>
              </a:r>
              <a:endPara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DBA2EC2D-B045-E7B9-577F-4A6B88FD915A}"/>
              </a:ext>
            </a:extLst>
          </p:cNvPr>
          <p:cNvGrpSpPr/>
          <p:nvPr/>
        </p:nvGrpSpPr>
        <p:grpSpPr>
          <a:xfrm>
            <a:off x="5788764" y="5085510"/>
            <a:ext cx="2517962" cy="818371"/>
            <a:chOff x="9316838" y="3230866"/>
            <a:chExt cx="2517962" cy="818371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592A839C-FD80-0A74-738A-4ED7F83CFCC8}"/>
                </a:ext>
              </a:extLst>
            </p:cNvPr>
            <p:cNvSpPr/>
            <p:nvPr/>
          </p:nvSpPr>
          <p:spPr>
            <a:xfrm>
              <a:off x="9316838" y="3728385"/>
              <a:ext cx="2517962" cy="320851"/>
            </a:xfrm>
            <a:prstGeom prst="rect">
              <a:avLst/>
            </a:prstGeom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lang="de-DE" sz="1200">
                  <a:solidFill>
                    <a:srgbClr val="69635F"/>
                  </a:solidFill>
                </a:rPr>
                <a:t>Trotz der umfangreichen Modulsammlung von </a:t>
              </a:r>
              <a:r>
                <a:rPr lang="de-DE" sz="1200" err="1">
                  <a:solidFill>
                    <a:srgbClr val="69635F"/>
                  </a:solidFill>
                </a:rPr>
                <a:t>Ansible</a:t>
              </a:r>
              <a:r>
                <a:rPr lang="de-DE" sz="1200">
                  <a:solidFill>
                    <a:srgbClr val="69635F"/>
                  </a:solidFill>
                </a:rPr>
                <a:t> gibt es spezifische Anforderungen ohne passende Module, was die Automatisierung erschweren</a:t>
              </a:r>
              <a:endParaRPr lang="de-DE" altLang="de-DE" sz="1200">
                <a:solidFill>
                  <a:srgbClr val="69635F"/>
                </a:solidFill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16BF9770-CE9D-F783-1251-168FF29777AC}"/>
                </a:ext>
              </a:extLst>
            </p:cNvPr>
            <p:cNvSpPr/>
            <p:nvPr/>
          </p:nvSpPr>
          <p:spPr>
            <a:xfrm>
              <a:off x="9338636" y="3230866"/>
              <a:ext cx="2167586" cy="818371"/>
            </a:xfrm>
            <a:prstGeom prst="rect">
              <a:avLst/>
            </a:prstGeom>
          </p:spPr>
          <p:txBody>
            <a:bodyPr wrap="square" lIns="0" tIns="1800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600" b="1" i="0" u="none" strike="noStrike" kern="1200" cap="none" spc="0" normalizeH="0" noProof="0">
                  <a:ln>
                    <a:noFill/>
                  </a:ln>
                  <a:solidFill>
                    <a:srgbClr val="0032A0"/>
                  </a:solidFill>
                  <a:effectLst/>
                  <a:uLnTx/>
                  <a:uFillTx/>
                  <a:latin typeface="+mj-lt"/>
                </a:rPr>
                <a:t>Module</a:t>
              </a:r>
              <a:endPara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endParaRPr>
            </a:p>
          </p:txBody>
        </p:sp>
      </p:grpSp>
      <p:pic>
        <p:nvPicPr>
          <p:cNvPr id="18" name="Grafik 17" descr="Ein Bild, das Menschliches Gesicht, Sport, Person, Wasser enthält.&#10;&#10;Automatisch generierte Beschreibung">
            <a:extLst>
              <a:ext uri="{FF2B5EF4-FFF2-40B4-BE49-F238E27FC236}">
                <a16:creationId xmlns:a16="http://schemas.microsoft.com/office/drawing/2014/main" id="{979BD647-9E98-04F4-0033-A1820BB539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816768" y="0"/>
            <a:ext cx="5487293" cy="6858000"/>
          </a:xfrm>
          <a:prstGeom prst="rect">
            <a:avLst/>
          </a:prstGeom>
        </p:spPr>
      </p:pic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FC246EAC-E07F-7802-8FDB-F2237D4A07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A1014C47-E40E-33A4-D155-E42C15BD8E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0092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CD5E86-4270-CE4E-2D62-CA9BAC91FB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Bogen 138">
            <a:extLst>
              <a:ext uri="{FF2B5EF4-FFF2-40B4-BE49-F238E27FC236}">
                <a16:creationId xmlns:a16="http://schemas.microsoft.com/office/drawing/2014/main" id="{D3701076-F695-5009-5088-23D55306955D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16267023"/>
              <a:gd name="adj2" fmla="val 19587902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40" name="Bogen 139">
            <a:extLst>
              <a:ext uri="{FF2B5EF4-FFF2-40B4-BE49-F238E27FC236}">
                <a16:creationId xmlns:a16="http://schemas.microsoft.com/office/drawing/2014/main" id="{746AD9C0-B193-1FFF-6746-53DCDF24465C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19868235"/>
              <a:gd name="adj2" fmla="val 1694602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41" name="Bogen 140">
            <a:extLst>
              <a:ext uri="{FF2B5EF4-FFF2-40B4-BE49-F238E27FC236}">
                <a16:creationId xmlns:a16="http://schemas.microsoft.com/office/drawing/2014/main" id="{4226849D-C996-06A7-14FD-F76BC3B14214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1998923"/>
              <a:gd name="adj2" fmla="val 5310465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42" name="Bogen 141">
            <a:extLst>
              <a:ext uri="{FF2B5EF4-FFF2-40B4-BE49-F238E27FC236}">
                <a16:creationId xmlns:a16="http://schemas.microsoft.com/office/drawing/2014/main" id="{EFBE8D70-51F3-7F62-D425-5C3330F33EB4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5652146"/>
              <a:gd name="adj2" fmla="val 8907447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43" name="Bogen 142">
            <a:extLst>
              <a:ext uri="{FF2B5EF4-FFF2-40B4-BE49-F238E27FC236}">
                <a16:creationId xmlns:a16="http://schemas.microsoft.com/office/drawing/2014/main" id="{20934098-F5EF-4FC9-C2E0-ABA8BAAA3EDA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9190968"/>
              <a:gd name="adj2" fmla="val 12405860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sp>
        <p:nvSpPr>
          <p:cNvPr id="144" name="Bogen 143">
            <a:extLst>
              <a:ext uri="{FF2B5EF4-FFF2-40B4-BE49-F238E27FC236}">
                <a16:creationId xmlns:a16="http://schemas.microsoft.com/office/drawing/2014/main" id="{B83B765F-C4A7-21A4-E61A-B28AC16DD0ED}"/>
              </a:ext>
            </a:extLst>
          </p:cNvPr>
          <p:cNvSpPr/>
          <p:nvPr/>
        </p:nvSpPr>
        <p:spPr bwMode="gray">
          <a:xfrm>
            <a:off x="7149289" y="2859701"/>
            <a:ext cx="2305050" cy="2305050"/>
          </a:xfrm>
          <a:prstGeom prst="arc">
            <a:avLst>
              <a:gd name="adj1" fmla="val 12725280"/>
              <a:gd name="adj2" fmla="val 15955087"/>
            </a:avLst>
          </a:prstGeom>
          <a:ln w="825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</p:txBody>
      </p:sp>
      <p:grpSp>
        <p:nvGrpSpPr>
          <p:cNvPr id="170" name="Gruppieren 169">
            <a:extLst>
              <a:ext uri="{FF2B5EF4-FFF2-40B4-BE49-F238E27FC236}">
                <a16:creationId xmlns:a16="http://schemas.microsoft.com/office/drawing/2014/main" id="{1D75AB30-E32B-5205-FFFB-A797CBA3863D}"/>
              </a:ext>
            </a:extLst>
          </p:cNvPr>
          <p:cNvGrpSpPr/>
          <p:nvPr/>
        </p:nvGrpSpPr>
        <p:grpSpPr>
          <a:xfrm>
            <a:off x="5433726" y="1662724"/>
            <a:ext cx="2563882" cy="1000727"/>
            <a:chOff x="9684421" y="3230866"/>
            <a:chExt cx="2563882" cy="1000727"/>
          </a:xfrm>
        </p:grpSpPr>
        <p:sp>
          <p:nvSpPr>
            <p:cNvPr id="172" name="Rechteck 171">
              <a:extLst>
                <a:ext uri="{FF2B5EF4-FFF2-40B4-BE49-F238E27FC236}">
                  <a16:creationId xmlns:a16="http://schemas.microsoft.com/office/drawing/2014/main" id="{3DD9A473-07BD-CB52-A448-63D29AF58797}"/>
                </a:ext>
              </a:extLst>
            </p:cNvPr>
            <p:cNvSpPr/>
            <p:nvPr/>
          </p:nvSpPr>
          <p:spPr>
            <a:xfrm>
              <a:off x="9684421" y="3989030"/>
              <a:ext cx="1944216" cy="242563"/>
            </a:xfrm>
            <a:prstGeom prst="rect">
              <a:avLst/>
            </a:prstGeom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</a:pPr>
              <a:r>
                <a:rPr lang="de-DE" altLang="de-DE" sz="1200">
                  <a:solidFill>
                    <a:srgbClr val="69635F"/>
                  </a:solidFill>
                </a:rPr>
                <a:t>Aktuelle M&amp;A auf dem IT Markt sorgen für Unruhe und Unklarheiten bei strategischen Ausrichtungen</a:t>
              </a:r>
            </a:p>
          </p:txBody>
        </p:sp>
        <p:sp>
          <p:nvSpPr>
            <p:cNvPr id="173" name="Rechteck 172">
              <a:extLst>
                <a:ext uri="{FF2B5EF4-FFF2-40B4-BE49-F238E27FC236}">
                  <a16:creationId xmlns:a16="http://schemas.microsoft.com/office/drawing/2014/main" id="{0DABF6BD-4DC5-E0C9-5DA0-AE49D52A9E7C}"/>
                </a:ext>
              </a:extLst>
            </p:cNvPr>
            <p:cNvSpPr/>
            <p:nvPr/>
          </p:nvSpPr>
          <p:spPr>
            <a:xfrm>
              <a:off x="9710040" y="3230866"/>
              <a:ext cx="2538263" cy="818371"/>
            </a:xfrm>
            <a:prstGeom prst="rect">
              <a:avLst/>
            </a:prstGeom>
          </p:spPr>
          <p:txBody>
            <a:bodyPr wrap="square" lIns="0" tIns="1800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600" b="1" i="0" u="none" strike="noStrike" kern="1200" cap="none" spc="0" normalizeH="0" noProof="0">
                  <a:ln>
                    <a:noFill/>
                  </a:ln>
                  <a:solidFill>
                    <a:srgbClr val="0032A0"/>
                  </a:solidFill>
                  <a:effectLst/>
                  <a:uLnTx/>
                  <a:uFillTx/>
                  <a:latin typeface="+mj-lt"/>
                </a:rPr>
                <a:t>Unsicherheiten &amp; Strategische Ausrichtung</a:t>
              </a:r>
              <a:endPara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endParaRPr>
            </a:p>
          </p:txBody>
        </p:sp>
      </p:grpSp>
      <p:sp>
        <p:nvSpPr>
          <p:cNvPr id="10" name="Titel 2">
            <a:extLst>
              <a:ext uri="{FF2B5EF4-FFF2-40B4-BE49-F238E27FC236}">
                <a16:creationId xmlns:a16="http://schemas.microsoft.com/office/drawing/2014/main" id="{65597CCE-89DD-60BC-3462-6973C2DACF5D}"/>
              </a:ext>
            </a:extLst>
          </p:cNvPr>
          <p:cNvSpPr txBox="1">
            <a:spLocks/>
          </p:cNvSpPr>
          <p:nvPr/>
        </p:nvSpPr>
        <p:spPr>
          <a:xfrm>
            <a:off x="4936476" y="692804"/>
            <a:ext cx="5984060" cy="791980"/>
          </a:xfrm>
          <a:prstGeom prst="rect">
            <a:avLst/>
          </a:prstGeom>
        </p:spPr>
        <p:txBody>
          <a:bodyPr lIns="0" tIns="0" rIns="0" bIns="0" rtlCol="0" anchor="b" anchorCtr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tx1"/>
                </a:solidFill>
                <a:latin typeface="+mj-lt"/>
                <a:ea typeface="+mj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3600"/>
              <a:t>Externe Herausforderungen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611D4BF-78CA-4F01-E192-34D8B8BD08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5716" y="6453352"/>
            <a:ext cx="874284" cy="144000"/>
          </a:xfrm>
          <a:prstGeom prst="rect">
            <a:avLst/>
          </a:prstGeom>
        </p:spPr>
      </p:pic>
      <p:sp>
        <p:nvSpPr>
          <p:cNvPr id="5" name="Textplatzhalter 17">
            <a:extLst>
              <a:ext uri="{FF2B5EF4-FFF2-40B4-BE49-F238E27FC236}">
                <a16:creationId xmlns:a16="http://schemas.microsoft.com/office/drawing/2014/main" id="{0D36EB65-4825-DD7B-D44A-93D8F55D1E03}"/>
              </a:ext>
            </a:extLst>
          </p:cNvPr>
          <p:cNvSpPr txBox="1">
            <a:spLocks/>
          </p:cNvSpPr>
          <p:nvPr/>
        </p:nvSpPr>
        <p:spPr bwMode="gray">
          <a:xfrm>
            <a:off x="6760872" y="3265690"/>
            <a:ext cx="3075676" cy="26429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600" b="0" cap="none" baseline="0" smtClean="0">
                <a:ea typeface="+mj-ea"/>
                <a:cs typeface="Segoe UI Light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b="0" cap="none" baseline="0" smtClean="0"/>
            </a:lvl2pPr>
            <a:lvl3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lang="de-DE" b="0" smtClean="0"/>
            </a:lvl3pPr>
            <a:lvl4pPr marL="432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de-DE" b="0" smtClean="0"/>
            </a:lvl4pPr>
            <a:lvl5pPr marL="648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GB" b="0"/>
            </a:lvl5pPr>
            <a:lvl6pPr marL="864000" marR="0" indent="-2160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6pPr>
            <a:lvl7pPr marL="864000" marR="0" indent="-2160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7pPr>
            <a:lvl8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8pPr>
            <a:lvl9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9pPr>
          </a:lstStyle>
          <a:p>
            <a:pPr rtl="0">
              <a:spcAft>
                <a:spcPts val="0"/>
              </a:spcAft>
            </a:pPr>
            <a:r>
              <a:rPr lang="de-DE" sz="4400" b="1">
                <a:latin typeface="+mj-lt"/>
              </a:rPr>
              <a:t>03</a:t>
            </a:r>
            <a:endParaRPr lang="de-DE" sz="1800" b="1">
              <a:latin typeface="+mj-lt"/>
            </a:endParaRPr>
          </a:p>
          <a:p>
            <a:pPr rtl="0">
              <a:spcAft>
                <a:spcPts val="0"/>
              </a:spcAft>
            </a:pPr>
            <a:endParaRPr lang="de-DE" sz="1050"/>
          </a:p>
          <a:p>
            <a:pPr rtl="0">
              <a:spcAft>
                <a:spcPts val="0"/>
              </a:spcAft>
            </a:pPr>
            <a:r>
              <a:rPr lang="de-DE" sz="1400" b="1"/>
              <a:t>Externe </a:t>
            </a:r>
            <a:br>
              <a:rPr lang="de-DE" sz="1400" b="1"/>
            </a:br>
            <a:r>
              <a:rPr lang="de-DE" sz="1400" b="1"/>
              <a:t>Herausforderungen</a:t>
            </a:r>
          </a:p>
          <a:p>
            <a:pPr rtl="0">
              <a:spcAft>
                <a:spcPts val="0"/>
              </a:spcAft>
            </a:pPr>
            <a:endParaRPr lang="de-DE" sz="105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ED4968A-C334-4E24-C493-10A3D3052D91}"/>
              </a:ext>
            </a:extLst>
          </p:cNvPr>
          <p:cNvGrpSpPr/>
          <p:nvPr/>
        </p:nvGrpSpPr>
        <p:grpSpPr>
          <a:xfrm>
            <a:off x="9189374" y="4940979"/>
            <a:ext cx="2558118" cy="818371"/>
            <a:chOff x="9684421" y="3230866"/>
            <a:chExt cx="2558118" cy="818371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E5058518-EFA1-EDE8-FCDB-46C7F8978B4C}"/>
                </a:ext>
              </a:extLst>
            </p:cNvPr>
            <p:cNvSpPr/>
            <p:nvPr/>
          </p:nvSpPr>
          <p:spPr>
            <a:xfrm>
              <a:off x="9684421" y="3717207"/>
              <a:ext cx="2558118" cy="317842"/>
            </a:xfrm>
            <a:prstGeom prst="rect">
              <a:avLst/>
            </a:prstGeom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200" b="0" i="0" u="none" strike="noStrike" kern="1200" cap="none" spc="0" normalizeH="0" noProof="0">
                  <a:ln>
                    <a:noFill/>
                  </a:ln>
                  <a:solidFill>
                    <a:srgbClr val="69635F"/>
                  </a:solidFill>
                  <a:effectLst/>
                  <a:uLnTx/>
                  <a:uFillTx/>
                </a:rPr>
                <a:t>Mögliche Änderungen im Support-Modell oder in der Lizenzierung könnten Herausforderungen darstellen.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E347A4E2-F51D-F77E-569A-036D0929508B}"/>
                </a:ext>
              </a:extLst>
            </p:cNvPr>
            <p:cNvSpPr/>
            <p:nvPr/>
          </p:nvSpPr>
          <p:spPr>
            <a:xfrm>
              <a:off x="9710040" y="3230866"/>
              <a:ext cx="2110727" cy="818371"/>
            </a:xfrm>
            <a:prstGeom prst="rect">
              <a:avLst/>
            </a:prstGeom>
          </p:spPr>
          <p:txBody>
            <a:bodyPr wrap="square" lIns="0" tIns="18000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36F"/>
                </a:buClr>
                <a:buSzTx/>
                <a:buFontTx/>
                <a:buNone/>
                <a:tabLst/>
                <a:defRPr/>
              </a:pPr>
              <a:r>
                <a:rPr lang="de-DE" sz="1600" b="1" i="0" u="none" strike="noStrike" kern="1200" cap="none" spc="0" normalizeH="0" noProof="0">
                  <a:ln>
                    <a:noFill/>
                  </a:ln>
                  <a:solidFill>
                    <a:srgbClr val="0032A0"/>
                  </a:solidFill>
                  <a:effectLst/>
                  <a:uLnTx/>
                  <a:uFillTx/>
                  <a:latin typeface="+mj-lt"/>
                </a:rPr>
                <a:t>Produktstrategie</a:t>
              </a:r>
              <a:endPara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+mj-lt"/>
                <a:ea typeface="+mn-ea"/>
                <a:cs typeface="Segoe UI Light" panose="020B0502040204020203" pitchFamily="34" charset="0"/>
              </a:endParaRPr>
            </a:p>
          </p:txBody>
        </p:sp>
      </p:grpSp>
      <p:pic>
        <p:nvPicPr>
          <p:cNvPr id="17" name="Grafik 16" descr="Ein Bild, das Kleidung, Person, Menschliches Gesicht, Mann enthält.&#10;&#10;Automatisch generierte Beschreibung">
            <a:extLst>
              <a:ext uri="{FF2B5EF4-FFF2-40B4-BE49-F238E27FC236}">
                <a16:creationId xmlns:a16="http://schemas.microsoft.com/office/drawing/2014/main" id="{5D623FA0-8E34-F5D4-285D-CD48EB4514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4572000" cy="6858000"/>
          </a:xfrm>
          <a:prstGeom prst="rect">
            <a:avLst/>
          </a:prstGeom>
        </p:spPr>
      </p:pic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2CCA4F11-A5C8-F1B8-E719-894748704A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2A74CB1F-A2ED-D0FB-A35B-74B8C82243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4670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8" descr="Ein Bild, das Person, Menschliches Gesicht, Himmel, draußen enthält.&#10;&#10;Automatisch generierte Beschreibung">
            <a:extLst>
              <a:ext uri="{FF2B5EF4-FFF2-40B4-BE49-F238E27FC236}">
                <a16:creationId xmlns:a16="http://schemas.microsoft.com/office/drawing/2014/main" id="{11F6C722-391E-B2AB-C453-68330D7A6FD1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30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98186CD4-7FC1-B62C-02B7-12CEF02E7F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9616" y="4797187"/>
            <a:ext cx="9361562" cy="1656000"/>
          </a:xfrm>
        </p:spPr>
        <p:txBody>
          <a:bodyPr/>
          <a:lstStyle/>
          <a:p>
            <a:pPr algn="r"/>
            <a:r>
              <a:rPr lang="de-DE" sz="4400" err="1"/>
              <a:t>Ansible</a:t>
            </a:r>
            <a:r>
              <a:rPr lang="de-DE" sz="4400"/>
              <a:t>  </a:t>
            </a:r>
            <a:br>
              <a:rPr lang="de-DE" sz="4400"/>
            </a:br>
            <a:r>
              <a:rPr lang="de-DE" sz="4400"/>
              <a:t>Lösungsansätze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A0856A38-B6DB-2437-3C2D-BFC326A9FC8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766478" y="6455900"/>
            <a:ext cx="874800" cy="144000"/>
          </a:xfrm>
        </p:spPr>
        <p:txBody>
          <a:bodyPr/>
          <a:lstStyle/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9C2E7A-92E3-FF9A-5FB8-601B893472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5441" y="6453352"/>
            <a:ext cx="3815942" cy="144000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6. Anwendertreffen - Keynote ITO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92D93EF-16AC-D697-BCDF-A734FC943F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51384" y="6453352"/>
            <a:ext cx="504056" cy="144000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Page </a:t>
            </a:r>
            <a:fld id="{C0069AEE-D70F-4F66-B615-13FB9818742B}" type="slidenum">
              <a:rPr lang="en-US" smtClean="0"/>
              <a:pPr>
                <a:spcAft>
                  <a:spcPts val="600"/>
                </a:spcAft>
              </a:pPr>
              <a:t>16</a:t>
            </a:fld>
            <a:endParaRPr lang="en-US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8E53D20-FC3F-24BC-5470-DCEB8B5DF6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1290565" y="404813"/>
            <a:ext cx="354913" cy="29304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25485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08B4728-4D8B-9E81-3B23-ABCA41CE6E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5F8C9AB-EA36-45A4-C616-4A8C7C6275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F37C347-53E7-6CB8-F434-33DCD5291B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Lösungsansätze</a:t>
            </a:r>
          </a:p>
        </p:txBody>
      </p:sp>
      <p:sp>
        <p:nvSpPr>
          <p:cNvPr id="60" name="Rectangle 1">
            <a:extLst>
              <a:ext uri="{FF2B5EF4-FFF2-40B4-BE49-F238E27FC236}">
                <a16:creationId xmlns:a16="http://schemas.microsoft.com/office/drawing/2014/main" id="{C0A117B9-9D4D-44BC-AA51-30D6F1EFAC86}"/>
              </a:ext>
            </a:extLst>
          </p:cNvPr>
          <p:cNvSpPr/>
          <p:nvPr/>
        </p:nvSpPr>
        <p:spPr>
          <a:xfrm>
            <a:off x="522459" y="2782314"/>
            <a:ext cx="398870" cy="334780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1" name="Oval 2">
            <a:extLst>
              <a:ext uri="{FF2B5EF4-FFF2-40B4-BE49-F238E27FC236}">
                <a16:creationId xmlns:a16="http://schemas.microsoft.com/office/drawing/2014/main" id="{2260ED2B-F1AC-0F08-C4AE-1257876EA97A}"/>
              </a:ext>
            </a:extLst>
          </p:cNvPr>
          <p:cNvSpPr/>
          <p:nvPr/>
        </p:nvSpPr>
        <p:spPr>
          <a:xfrm>
            <a:off x="181269" y="1695167"/>
            <a:ext cx="1093897" cy="1093897"/>
          </a:xfrm>
          <a:prstGeom prst="ellipse">
            <a:avLst/>
          </a:prstGeom>
          <a:noFill/>
          <a:ln w="1270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62" name="Group 4">
            <a:extLst>
              <a:ext uri="{FF2B5EF4-FFF2-40B4-BE49-F238E27FC236}">
                <a16:creationId xmlns:a16="http://schemas.microsoft.com/office/drawing/2014/main" id="{1E9427F3-B440-E641-C68C-B40630968A04}"/>
              </a:ext>
            </a:extLst>
          </p:cNvPr>
          <p:cNvGrpSpPr/>
          <p:nvPr/>
        </p:nvGrpSpPr>
        <p:grpSpPr>
          <a:xfrm flipH="1">
            <a:off x="372958" y="3026664"/>
            <a:ext cx="3931226" cy="633640"/>
            <a:chOff x="1487532" y="2017033"/>
            <a:chExt cx="2952328" cy="376914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A2AA4FA3-197E-1E8D-8389-AB406851CE69}"/>
                </a:ext>
              </a:extLst>
            </p:cNvPr>
            <p:cNvSpPr/>
            <p:nvPr/>
          </p:nvSpPr>
          <p:spPr>
            <a:xfrm>
              <a:off x="4319543" y="2027138"/>
              <a:ext cx="115353" cy="366809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0 w 914400"/>
                <a:gd name="connsiteY0" fmla="*/ 292963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0 w 914400"/>
                <a:gd name="connsiteY4" fmla="*/ 292963 h 1207363"/>
                <a:gd name="connsiteX0" fmla="*/ 612559 w 914400"/>
                <a:gd name="connsiteY0" fmla="*/ 8877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612559 w 914400"/>
                <a:gd name="connsiteY4" fmla="*/ 8877 h 1207363"/>
                <a:gd name="connsiteX0" fmla="*/ 0 w 301841"/>
                <a:gd name="connsiteY0" fmla="*/ 8877 h 1207363"/>
                <a:gd name="connsiteX1" fmla="*/ 301841 w 301841"/>
                <a:gd name="connsiteY1" fmla="*/ 0 h 1207363"/>
                <a:gd name="connsiteX2" fmla="*/ 301841 w 301841"/>
                <a:gd name="connsiteY2" fmla="*/ 1207363 h 1207363"/>
                <a:gd name="connsiteX3" fmla="*/ 186432 w 301841"/>
                <a:gd name="connsiteY3" fmla="*/ 408372 h 1207363"/>
                <a:gd name="connsiteX4" fmla="*/ 0 w 301841"/>
                <a:gd name="connsiteY4" fmla="*/ 8877 h 1207363"/>
                <a:gd name="connsiteX0" fmla="*/ 0 w 133166"/>
                <a:gd name="connsiteY0" fmla="*/ 0 h 1207364"/>
                <a:gd name="connsiteX1" fmla="*/ 133166 w 133166"/>
                <a:gd name="connsiteY1" fmla="*/ 1 h 1207364"/>
                <a:gd name="connsiteX2" fmla="*/ 133166 w 133166"/>
                <a:gd name="connsiteY2" fmla="*/ 1207364 h 1207364"/>
                <a:gd name="connsiteX3" fmla="*/ 17757 w 133166"/>
                <a:gd name="connsiteY3" fmla="*/ 408373 h 1207364"/>
                <a:gd name="connsiteX4" fmla="*/ 0 w 133166"/>
                <a:gd name="connsiteY4" fmla="*/ 0 h 1207364"/>
                <a:gd name="connsiteX0" fmla="*/ 0 w 142044"/>
                <a:gd name="connsiteY0" fmla="*/ 0 h 408373"/>
                <a:gd name="connsiteX1" fmla="*/ 133166 w 142044"/>
                <a:gd name="connsiteY1" fmla="*/ 1 h 408373"/>
                <a:gd name="connsiteX2" fmla="*/ 142044 w 142044"/>
                <a:gd name="connsiteY2" fmla="*/ 301842 h 408373"/>
                <a:gd name="connsiteX3" fmla="*/ 17757 w 142044"/>
                <a:gd name="connsiteY3" fmla="*/ 408373 h 408373"/>
                <a:gd name="connsiteX4" fmla="*/ 0 w 142044"/>
                <a:gd name="connsiteY4" fmla="*/ 0 h 408373"/>
                <a:gd name="connsiteX0" fmla="*/ 0 w 133166"/>
                <a:gd name="connsiteY0" fmla="*/ 0 h 408373"/>
                <a:gd name="connsiteX1" fmla="*/ 133166 w 133166"/>
                <a:gd name="connsiteY1" fmla="*/ 1 h 408373"/>
                <a:gd name="connsiteX2" fmla="*/ 118293 w 133166"/>
                <a:gd name="connsiteY2" fmla="*/ 313717 h 408373"/>
                <a:gd name="connsiteX3" fmla="*/ 17757 w 133166"/>
                <a:gd name="connsiteY3" fmla="*/ 408373 h 408373"/>
                <a:gd name="connsiteX4" fmla="*/ 0 w 133166"/>
                <a:gd name="connsiteY4" fmla="*/ 0 h 408373"/>
                <a:gd name="connsiteX0" fmla="*/ 0 w 118293"/>
                <a:gd name="connsiteY0" fmla="*/ 5937 h 414310"/>
                <a:gd name="connsiteX1" fmla="*/ 115353 w 118293"/>
                <a:gd name="connsiteY1" fmla="*/ 0 h 414310"/>
                <a:gd name="connsiteX2" fmla="*/ 118293 w 118293"/>
                <a:gd name="connsiteY2" fmla="*/ 319654 h 414310"/>
                <a:gd name="connsiteX3" fmla="*/ 17757 w 118293"/>
                <a:gd name="connsiteY3" fmla="*/ 414310 h 414310"/>
                <a:gd name="connsiteX4" fmla="*/ 0 w 118293"/>
                <a:gd name="connsiteY4" fmla="*/ 5937 h 414310"/>
                <a:gd name="connsiteX0" fmla="*/ 0 w 118293"/>
                <a:gd name="connsiteY0" fmla="*/ 5937 h 366809"/>
                <a:gd name="connsiteX1" fmla="*/ 115353 w 118293"/>
                <a:gd name="connsiteY1" fmla="*/ 0 h 366809"/>
                <a:gd name="connsiteX2" fmla="*/ 118293 w 118293"/>
                <a:gd name="connsiteY2" fmla="*/ 319654 h 366809"/>
                <a:gd name="connsiteX3" fmla="*/ 5882 w 118293"/>
                <a:gd name="connsiteY3" fmla="*/ 366809 h 366809"/>
                <a:gd name="connsiteX4" fmla="*/ 0 w 118293"/>
                <a:gd name="connsiteY4" fmla="*/ 5937 h 366809"/>
                <a:gd name="connsiteX0" fmla="*/ 0 w 115353"/>
                <a:gd name="connsiteY0" fmla="*/ 5937 h 366809"/>
                <a:gd name="connsiteX1" fmla="*/ 115353 w 115353"/>
                <a:gd name="connsiteY1" fmla="*/ 0 h 366809"/>
                <a:gd name="connsiteX2" fmla="*/ 112356 w 115353"/>
                <a:gd name="connsiteY2" fmla="*/ 278091 h 366809"/>
                <a:gd name="connsiteX3" fmla="*/ 5882 w 115353"/>
                <a:gd name="connsiteY3" fmla="*/ 366809 h 366809"/>
                <a:gd name="connsiteX4" fmla="*/ 0 w 115353"/>
                <a:gd name="connsiteY4" fmla="*/ 5937 h 3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53" h="366809">
                  <a:moveTo>
                    <a:pt x="0" y="5937"/>
                  </a:moveTo>
                  <a:lnTo>
                    <a:pt x="115353" y="0"/>
                  </a:lnTo>
                  <a:lnTo>
                    <a:pt x="112356" y="278091"/>
                  </a:lnTo>
                  <a:lnTo>
                    <a:pt x="5882" y="366809"/>
                  </a:lnTo>
                  <a:cubicBezTo>
                    <a:pt x="3921" y="246518"/>
                    <a:pt x="1961" y="126228"/>
                    <a:pt x="0" y="5937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4" name="Rectangle 6">
              <a:extLst>
                <a:ext uri="{FF2B5EF4-FFF2-40B4-BE49-F238E27FC236}">
                  <a16:creationId xmlns:a16="http://schemas.microsoft.com/office/drawing/2014/main" id="{A707A96F-F495-5359-88C7-D59245DCD69B}"/>
                </a:ext>
              </a:extLst>
            </p:cNvPr>
            <p:cNvSpPr/>
            <p:nvPr/>
          </p:nvSpPr>
          <p:spPr>
            <a:xfrm flipH="1">
              <a:off x="1487532" y="2017033"/>
              <a:ext cx="2952328" cy="288033"/>
            </a:xfrm>
            <a:custGeom>
              <a:avLst/>
              <a:gdLst>
                <a:gd name="connsiteX0" fmla="*/ 0 w 5285462"/>
                <a:gd name="connsiteY0" fmla="*/ 0 h 576064"/>
                <a:gd name="connsiteX1" fmla="*/ 4724629 w 5285462"/>
                <a:gd name="connsiteY1" fmla="*/ 0 h 576064"/>
                <a:gd name="connsiteX2" fmla="*/ 5285462 w 5285462"/>
                <a:gd name="connsiteY2" fmla="*/ 576064 h 576064"/>
                <a:gd name="connsiteX3" fmla="*/ 0 w 5285462"/>
                <a:gd name="connsiteY3" fmla="*/ 576064 h 576064"/>
                <a:gd name="connsiteX4" fmla="*/ 0 w 5285462"/>
                <a:gd name="connsiteY4" fmla="*/ 0 h 57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5462" h="576064">
                  <a:moveTo>
                    <a:pt x="0" y="0"/>
                  </a:moveTo>
                  <a:lnTo>
                    <a:pt x="4724629" y="0"/>
                  </a:lnTo>
                  <a:lnTo>
                    <a:pt x="5285462" y="576064"/>
                  </a:lnTo>
                  <a:lnTo>
                    <a:pt x="0" y="576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65" name="TextBox 7">
            <a:extLst>
              <a:ext uri="{FF2B5EF4-FFF2-40B4-BE49-F238E27FC236}">
                <a16:creationId xmlns:a16="http://schemas.microsoft.com/office/drawing/2014/main" id="{702FC82D-D9F5-343D-B535-0D6B75E875A5}"/>
              </a:ext>
            </a:extLst>
          </p:cNvPr>
          <p:cNvSpPr txBox="1"/>
          <p:nvPr/>
        </p:nvSpPr>
        <p:spPr>
          <a:xfrm>
            <a:off x="1058181" y="3105371"/>
            <a:ext cx="28136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err="1">
                <a:solidFill>
                  <a:schemeClr val="bg1"/>
                </a:solidFill>
              </a:rPr>
              <a:t>Maßgeschneiderte</a:t>
            </a:r>
            <a:r>
              <a:rPr lang="en-US" altLang="ko-KR" sz="1400" b="1">
                <a:solidFill>
                  <a:schemeClr val="bg1"/>
                </a:solidFill>
              </a:rPr>
              <a:t> </a:t>
            </a:r>
            <a:r>
              <a:rPr lang="en-US" altLang="ko-KR" sz="1400" b="1" err="1">
                <a:solidFill>
                  <a:schemeClr val="bg1"/>
                </a:solidFill>
              </a:rPr>
              <a:t>Schulungen</a:t>
            </a:r>
            <a:endParaRPr lang="ko-KR" altLang="en-US" sz="1400" b="1">
              <a:solidFill>
                <a:schemeClr val="bg1"/>
              </a:solidFill>
            </a:endParaRPr>
          </a:p>
        </p:txBody>
      </p:sp>
      <p:grpSp>
        <p:nvGrpSpPr>
          <p:cNvPr id="66" name="Group 8">
            <a:extLst>
              <a:ext uri="{FF2B5EF4-FFF2-40B4-BE49-F238E27FC236}">
                <a16:creationId xmlns:a16="http://schemas.microsoft.com/office/drawing/2014/main" id="{CE3FBBCF-32DA-4787-42FD-B0A52E467156}"/>
              </a:ext>
            </a:extLst>
          </p:cNvPr>
          <p:cNvGrpSpPr/>
          <p:nvPr/>
        </p:nvGrpSpPr>
        <p:grpSpPr>
          <a:xfrm flipH="1">
            <a:off x="372958" y="3695877"/>
            <a:ext cx="3931226" cy="633640"/>
            <a:chOff x="1487532" y="2017033"/>
            <a:chExt cx="2952328" cy="376914"/>
          </a:xfrm>
        </p:grpSpPr>
        <p:sp>
          <p:nvSpPr>
            <p:cNvPr id="67" name="Rectangle 9">
              <a:extLst>
                <a:ext uri="{FF2B5EF4-FFF2-40B4-BE49-F238E27FC236}">
                  <a16:creationId xmlns:a16="http://schemas.microsoft.com/office/drawing/2014/main" id="{C3CF273A-A006-3816-BBC0-E46BB79B95D5}"/>
                </a:ext>
              </a:extLst>
            </p:cNvPr>
            <p:cNvSpPr/>
            <p:nvPr/>
          </p:nvSpPr>
          <p:spPr>
            <a:xfrm>
              <a:off x="4319543" y="2027138"/>
              <a:ext cx="115353" cy="366809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0 w 914400"/>
                <a:gd name="connsiteY0" fmla="*/ 292963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0 w 914400"/>
                <a:gd name="connsiteY4" fmla="*/ 292963 h 1207363"/>
                <a:gd name="connsiteX0" fmla="*/ 612559 w 914400"/>
                <a:gd name="connsiteY0" fmla="*/ 8877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612559 w 914400"/>
                <a:gd name="connsiteY4" fmla="*/ 8877 h 1207363"/>
                <a:gd name="connsiteX0" fmla="*/ 0 w 301841"/>
                <a:gd name="connsiteY0" fmla="*/ 8877 h 1207363"/>
                <a:gd name="connsiteX1" fmla="*/ 301841 w 301841"/>
                <a:gd name="connsiteY1" fmla="*/ 0 h 1207363"/>
                <a:gd name="connsiteX2" fmla="*/ 301841 w 301841"/>
                <a:gd name="connsiteY2" fmla="*/ 1207363 h 1207363"/>
                <a:gd name="connsiteX3" fmla="*/ 186432 w 301841"/>
                <a:gd name="connsiteY3" fmla="*/ 408372 h 1207363"/>
                <a:gd name="connsiteX4" fmla="*/ 0 w 301841"/>
                <a:gd name="connsiteY4" fmla="*/ 8877 h 1207363"/>
                <a:gd name="connsiteX0" fmla="*/ 0 w 133166"/>
                <a:gd name="connsiteY0" fmla="*/ 0 h 1207364"/>
                <a:gd name="connsiteX1" fmla="*/ 133166 w 133166"/>
                <a:gd name="connsiteY1" fmla="*/ 1 h 1207364"/>
                <a:gd name="connsiteX2" fmla="*/ 133166 w 133166"/>
                <a:gd name="connsiteY2" fmla="*/ 1207364 h 1207364"/>
                <a:gd name="connsiteX3" fmla="*/ 17757 w 133166"/>
                <a:gd name="connsiteY3" fmla="*/ 408373 h 1207364"/>
                <a:gd name="connsiteX4" fmla="*/ 0 w 133166"/>
                <a:gd name="connsiteY4" fmla="*/ 0 h 1207364"/>
                <a:gd name="connsiteX0" fmla="*/ 0 w 142044"/>
                <a:gd name="connsiteY0" fmla="*/ 0 h 408373"/>
                <a:gd name="connsiteX1" fmla="*/ 133166 w 142044"/>
                <a:gd name="connsiteY1" fmla="*/ 1 h 408373"/>
                <a:gd name="connsiteX2" fmla="*/ 142044 w 142044"/>
                <a:gd name="connsiteY2" fmla="*/ 301842 h 408373"/>
                <a:gd name="connsiteX3" fmla="*/ 17757 w 142044"/>
                <a:gd name="connsiteY3" fmla="*/ 408373 h 408373"/>
                <a:gd name="connsiteX4" fmla="*/ 0 w 142044"/>
                <a:gd name="connsiteY4" fmla="*/ 0 h 408373"/>
                <a:gd name="connsiteX0" fmla="*/ 0 w 133166"/>
                <a:gd name="connsiteY0" fmla="*/ 0 h 408373"/>
                <a:gd name="connsiteX1" fmla="*/ 133166 w 133166"/>
                <a:gd name="connsiteY1" fmla="*/ 1 h 408373"/>
                <a:gd name="connsiteX2" fmla="*/ 118293 w 133166"/>
                <a:gd name="connsiteY2" fmla="*/ 313717 h 408373"/>
                <a:gd name="connsiteX3" fmla="*/ 17757 w 133166"/>
                <a:gd name="connsiteY3" fmla="*/ 408373 h 408373"/>
                <a:gd name="connsiteX4" fmla="*/ 0 w 133166"/>
                <a:gd name="connsiteY4" fmla="*/ 0 h 408373"/>
                <a:gd name="connsiteX0" fmla="*/ 0 w 118293"/>
                <a:gd name="connsiteY0" fmla="*/ 5937 h 414310"/>
                <a:gd name="connsiteX1" fmla="*/ 115353 w 118293"/>
                <a:gd name="connsiteY1" fmla="*/ 0 h 414310"/>
                <a:gd name="connsiteX2" fmla="*/ 118293 w 118293"/>
                <a:gd name="connsiteY2" fmla="*/ 319654 h 414310"/>
                <a:gd name="connsiteX3" fmla="*/ 17757 w 118293"/>
                <a:gd name="connsiteY3" fmla="*/ 414310 h 414310"/>
                <a:gd name="connsiteX4" fmla="*/ 0 w 118293"/>
                <a:gd name="connsiteY4" fmla="*/ 5937 h 414310"/>
                <a:gd name="connsiteX0" fmla="*/ 0 w 118293"/>
                <a:gd name="connsiteY0" fmla="*/ 5937 h 366809"/>
                <a:gd name="connsiteX1" fmla="*/ 115353 w 118293"/>
                <a:gd name="connsiteY1" fmla="*/ 0 h 366809"/>
                <a:gd name="connsiteX2" fmla="*/ 118293 w 118293"/>
                <a:gd name="connsiteY2" fmla="*/ 319654 h 366809"/>
                <a:gd name="connsiteX3" fmla="*/ 5882 w 118293"/>
                <a:gd name="connsiteY3" fmla="*/ 366809 h 366809"/>
                <a:gd name="connsiteX4" fmla="*/ 0 w 118293"/>
                <a:gd name="connsiteY4" fmla="*/ 5937 h 366809"/>
                <a:gd name="connsiteX0" fmla="*/ 0 w 115353"/>
                <a:gd name="connsiteY0" fmla="*/ 5937 h 366809"/>
                <a:gd name="connsiteX1" fmla="*/ 115353 w 115353"/>
                <a:gd name="connsiteY1" fmla="*/ 0 h 366809"/>
                <a:gd name="connsiteX2" fmla="*/ 112356 w 115353"/>
                <a:gd name="connsiteY2" fmla="*/ 278091 h 366809"/>
                <a:gd name="connsiteX3" fmla="*/ 5882 w 115353"/>
                <a:gd name="connsiteY3" fmla="*/ 366809 h 366809"/>
                <a:gd name="connsiteX4" fmla="*/ 0 w 115353"/>
                <a:gd name="connsiteY4" fmla="*/ 5937 h 3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53" h="366809">
                  <a:moveTo>
                    <a:pt x="0" y="5937"/>
                  </a:moveTo>
                  <a:lnTo>
                    <a:pt x="115353" y="0"/>
                  </a:lnTo>
                  <a:lnTo>
                    <a:pt x="112356" y="278091"/>
                  </a:lnTo>
                  <a:lnTo>
                    <a:pt x="5882" y="366809"/>
                  </a:lnTo>
                  <a:cubicBezTo>
                    <a:pt x="3921" y="246518"/>
                    <a:pt x="1961" y="126228"/>
                    <a:pt x="0" y="5937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8" name="Rectangle 6">
              <a:extLst>
                <a:ext uri="{FF2B5EF4-FFF2-40B4-BE49-F238E27FC236}">
                  <a16:creationId xmlns:a16="http://schemas.microsoft.com/office/drawing/2014/main" id="{8389F0EF-54BF-02F8-805D-3133607535EC}"/>
                </a:ext>
              </a:extLst>
            </p:cNvPr>
            <p:cNvSpPr/>
            <p:nvPr/>
          </p:nvSpPr>
          <p:spPr>
            <a:xfrm flipH="1">
              <a:off x="1487532" y="2017033"/>
              <a:ext cx="2952328" cy="288033"/>
            </a:xfrm>
            <a:custGeom>
              <a:avLst/>
              <a:gdLst>
                <a:gd name="connsiteX0" fmla="*/ 0 w 5285462"/>
                <a:gd name="connsiteY0" fmla="*/ 0 h 576064"/>
                <a:gd name="connsiteX1" fmla="*/ 4724629 w 5285462"/>
                <a:gd name="connsiteY1" fmla="*/ 0 h 576064"/>
                <a:gd name="connsiteX2" fmla="*/ 5285462 w 5285462"/>
                <a:gd name="connsiteY2" fmla="*/ 576064 h 576064"/>
                <a:gd name="connsiteX3" fmla="*/ 0 w 5285462"/>
                <a:gd name="connsiteY3" fmla="*/ 576064 h 576064"/>
                <a:gd name="connsiteX4" fmla="*/ 0 w 5285462"/>
                <a:gd name="connsiteY4" fmla="*/ 0 h 57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5462" h="576064">
                  <a:moveTo>
                    <a:pt x="0" y="0"/>
                  </a:moveTo>
                  <a:lnTo>
                    <a:pt x="4724629" y="0"/>
                  </a:lnTo>
                  <a:lnTo>
                    <a:pt x="5285462" y="576064"/>
                  </a:lnTo>
                  <a:lnTo>
                    <a:pt x="0" y="576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69" name="TextBox 11">
            <a:extLst>
              <a:ext uri="{FF2B5EF4-FFF2-40B4-BE49-F238E27FC236}">
                <a16:creationId xmlns:a16="http://schemas.microsoft.com/office/drawing/2014/main" id="{31FF1668-2C6C-1097-8FFC-E085203BA8F5}"/>
              </a:ext>
            </a:extLst>
          </p:cNvPr>
          <p:cNvSpPr txBox="1"/>
          <p:nvPr/>
        </p:nvSpPr>
        <p:spPr>
          <a:xfrm>
            <a:off x="932256" y="3784966"/>
            <a:ext cx="31345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altLang="ko-KR" sz="1400" b="1">
                <a:solidFill>
                  <a:schemeClr val="bg1"/>
                </a:solidFill>
              </a:rPr>
              <a:t>Community &amp; Mentorenprogramm</a:t>
            </a:r>
            <a:endParaRPr lang="ko-KR" altLang="en-US" sz="1400" b="1">
              <a:solidFill>
                <a:schemeClr val="bg1"/>
              </a:solidFill>
            </a:endParaRPr>
          </a:p>
        </p:txBody>
      </p:sp>
      <p:grpSp>
        <p:nvGrpSpPr>
          <p:cNvPr id="70" name="그룹 12">
            <a:extLst>
              <a:ext uri="{FF2B5EF4-FFF2-40B4-BE49-F238E27FC236}">
                <a16:creationId xmlns:a16="http://schemas.microsoft.com/office/drawing/2014/main" id="{144CA4ED-8C65-0245-E6F9-4DDA836D04E6}"/>
              </a:ext>
            </a:extLst>
          </p:cNvPr>
          <p:cNvGrpSpPr/>
          <p:nvPr/>
        </p:nvGrpSpPr>
        <p:grpSpPr>
          <a:xfrm>
            <a:off x="1457306" y="1340768"/>
            <a:ext cx="3531976" cy="1251563"/>
            <a:chOff x="1933834" y="986368"/>
            <a:chExt cx="2694950" cy="1251563"/>
          </a:xfrm>
        </p:grpSpPr>
        <p:sp>
          <p:nvSpPr>
            <p:cNvPr id="71" name="TextBox 13">
              <a:extLst>
                <a:ext uri="{FF2B5EF4-FFF2-40B4-BE49-F238E27FC236}">
                  <a16:creationId xmlns:a16="http://schemas.microsoft.com/office/drawing/2014/main" id="{F8AC2F23-004A-9A19-BA7B-F61A79C319F5}"/>
                </a:ext>
              </a:extLst>
            </p:cNvPr>
            <p:cNvSpPr txBox="1"/>
            <p:nvPr/>
          </p:nvSpPr>
          <p:spPr>
            <a:xfrm>
              <a:off x="1933834" y="1653156"/>
              <a:ext cx="2555777" cy="58477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rtl="0">
                <a:spcAft>
                  <a:spcPts val="0"/>
                </a:spcAft>
              </a:pPr>
              <a:r>
                <a:rPr lang="de-DE" sz="1600" b="1">
                  <a:solidFill>
                    <a:schemeClr val="accent2"/>
                  </a:solidFill>
                  <a:latin typeface="+mj-lt"/>
                </a:rPr>
                <a:t>Schulung und Akzeptanz </a:t>
              </a:r>
              <a:br>
                <a:rPr lang="de-DE" sz="1600" b="1">
                  <a:solidFill>
                    <a:schemeClr val="accent2"/>
                  </a:solidFill>
                  <a:latin typeface="+mj-lt"/>
                </a:rPr>
              </a:br>
              <a:r>
                <a:rPr lang="de-DE" sz="1600" b="1">
                  <a:solidFill>
                    <a:schemeClr val="accent2"/>
                  </a:solidFill>
                  <a:latin typeface="+mj-lt"/>
                </a:rPr>
                <a:t>neuer Technologien</a:t>
              </a:r>
            </a:p>
          </p:txBody>
        </p:sp>
        <p:sp>
          <p:nvSpPr>
            <p:cNvPr id="72" name="TextBox 14">
              <a:extLst>
                <a:ext uri="{FF2B5EF4-FFF2-40B4-BE49-F238E27FC236}">
                  <a16:creationId xmlns:a16="http://schemas.microsoft.com/office/drawing/2014/main" id="{3C6C875F-7D8B-3D74-C734-756FDCE15A8C}"/>
                </a:ext>
              </a:extLst>
            </p:cNvPr>
            <p:cNvSpPr txBox="1"/>
            <p:nvPr/>
          </p:nvSpPr>
          <p:spPr>
            <a:xfrm>
              <a:off x="2073009" y="986368"/>
              <a:ext cx="255577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ko-KR" altLang="en-US" sz="120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sp>
        <p:nvSpPr>
          <p:cNvPr id="73" name="Rectangle 15">
            <a:extLst>
              <a:ext uri="{FF2B5EF4-FFF2-40B4-BE49-F238E27FC236}">
                <a16:creationId xmlns:a16="http://schemas.microsoft.com/office/drawing/2014/main" id="{933B0D70-550E-0BE4-83F5-12B08F6F5DDE}"/>
              </a:ext>
            </a:extLst>
          </p:cNvPr>
          <p:cNvSpPr/>
          <p:nvPr/>
        </p:nvSpPr>
        <p:spPr>
          <a:xfrm>
            <a:off x="4986955" y="2782315"/>
            <a:ext cx="398870" cy="33478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4" name="Oval 16">
            <a:extLst>
              <a:ext uri="{FF2B5EF4-FFF2-40B4-BE49-F238E27FC236}">
                <a16:creationId xmlns:a16="http://schemas.microsoft.com/office/drawing/2014/main" id="{A5BEA8CF-241B-13DF-6CA8-AE5F9DD2F30A}"/>
              </a:ext>
            </a:extLst>
          </p:cNvPr>
          <p:cNvSpPr/>
          <p:nvPr/>
        </p:nvSpPr>
        <p:spPr>
          <a:xfrm>
            <a:off x="4645765" y="1695167"/>
            <a:ext cx="1093897" cy="1093897"/>
          </a:xfrm>
          <a:prstGeom prst="ellipse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accent1"/>
              </a:solidFill>
            </a:endParaRPr>
          </a:p>
        </p:txBody>
      </p:sp>
      <p:grpSp>
        <p:nvGrpSpPr>
          <p:cNvPr id="75" name="Group 17">
            <a:extLst>
              <a:ext uri="{FF2B5EF4-FFF2-40B4-BE49-F238E27FC236}">
                <a16:creationId xmlns:a16="http://schemas.microsoft.com/office/drawing/2014/main" id="{305AE27A-49FB-72A9-B3A0-70988354B17A}"/>
              </a:ext>
            </a:extLst>
          </p:cNvPr>
          <p:cNvGrpSpPr/>
          <p:nvPr/>
        </p:nvGrpSpPr>
        <p:grpSpPr>
          <a:xfrm flipH="1">
            <a:off x="4837454" y="3026664"/>
            <a:ext cx="3931226" cy="633640"/>
            <a:chOff x="1487532" y="2017033"/>
            <a:chExt cx="2952328" cy="376914"/>
          </a:xfrm>
          <a:solidFill>
            <a:schemeClr val="accent2">
              <a:lumMod val="75000"/>
            </a:schemeClr>
          </a:solidFill>
        </p:grpSpPr>
        <p:sp>
          <p:nvSpPr>
            <p:cNvPr id="76" name="Rectangle 9">
              <a:extLst>
                <a:ext uri="{FF2B5EF4-FFF2-40B4-BE49-F238E27FC236}">
                  <a16:creationId xmlns:a16="http://schemas.microsoft.com/office/drawing/2014/main" id="{64BB6263-EFC5-13DF-4CEE-6141925D61D8}"/>
                </a:ext>
              </a:extLst>
            </p:cNvPr>
            <p:cNvSpPr/>
            <p:nvPr/>
          </p:nvSpPr>
          <p:spPr>
            <a:xfrm>
              <a:off x="4319543" y="2027138"/>
              <a:ext cx="115353" cy="366809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0 w 914400"/>
                <a:gd name="connsiteY0" fmla="*/ 292963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0 w 914400"/>
                <a:gd name="connsiteY4" fmla="*/ 292963 h 1207363"/>
                <a:gd name="connsiteX0" fmla="*/ 612559 w 914400"/>
                <a:gd name="connsiteY0" fmla="*/ 8877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612559 w 914400"/>
                <a:gd name="connsiteY4" fmla="*/ 8877 h 1207363"/>
                <a:gd name="connsiteX0" fmla="*/ 0 w 301841"/>
                <a:gd name="connsiteY0" fmla="*/ 8877 h 1207363"/>
                <a:gd name="connsiteX1" fmla="*/ 301841 w 301841"/>
                <a:gd name="connsiteY1" fmla="*/ 0 h 1207363"/>
                <a:gd name="connsiteX2" fmla="*/ 301841 w 301841"/>
                <a:gd name="connsiteY2" fmla="*/ 1207363 h 1207363"/>
                <a:gd name="connsiteX3" fmla="*/ 186432 w 301841"/>
                <a:gd name="connsiteY3" fmla="*/ 408372 h 1207363"/>
                <a:gd name="connsiteX4" fmla="*/ 0 w 301841"/>
                <a:gd name="connsiteY4" fmla="*/ 8877 h 1207363"/>
                <a:gd name="connsiteX0" fmla="*/ 0 w 133166"/>
                <a:gd name="connsiteY0" fmla="*/ 0 h 1207364"/>
                <a:gd name="connsiteX1" fmla="*/ 133166 w 133166"/>
                <a:gd name="connsiteY1" fmla="*/ 1 h 1207364"/>
                <a:gd name="connsiteX2" fmla="*/ 133166 w 133166"/>
                <a:gd name="connsiteY2" fmla="*/ 1207364 h 1207364"/>
                <a:gd name="connsiteX3" fmla="*/ 17757 w 133166"/>
                <a:gd name="connsiteY3" fmla="*/ 408373 h 1207364"/>
                <a:gd name="connsiteX4" fmla="*/ 0 w 133166"/>
                <a:gd name="connsiteY4" fmla="*/ 0 h 1207364"/>
                <a:gd name="connsiteX0" fmla="*/ 0 w 142044"/>
                <a:gd name="connsiteY0" fmla="*/ 0 h 408373"/>
                <a:gd name="connsiteX1" fmla="*/ 133166 w 142044"/>
                <a:gd name="connsiteY1" fmla="*/ 1 h 408373"/>
                <a:gd name="connsiteX2" fmla="*/ 142044 w 142044"/>
                <a:gd name="connsiteY2" fmla="*/ 301842 h 408373"/>
                <a:gd name="connsiteX3" fmla="*/ 17757 w 142044"/>
                <a:gd name="connsiteY3" fmla="*/ 408373 h 408373"/>
                <a:gd name="connsiteX4" fmla="*/ 0 w 142044"/>
                <a:gd name="connsiteY4" fmla="*/ 0 h 408373"/>
                <a:gd name="connsiteX0" fmla="*/ 0 w 133166"/>
                <a:gd name="connsiteY0" fmla="*/ 0 h 408373"/>
                <a:gd name="connsiteX1" fmla="*/ 133166 w 133166"/>
                <a:gd name="connsiteY1" fmla="*/ 1 h 408373"/>
                <a:gd name="connsiteX2" fmla="*/ 118293 w 133166"/>
                <a:gd name="connsiteY2" fmla="*/ 313717 h 408373"/>
                <a:gd name="connsiteX3" fmla="*/ 17757 w 133166"/>
                <a:gd name="connsiteY3" fmla="*/ 408373 h 408373"/>
                <a:gd name="connsiteX4" fmla="*/ 0 w 133166"/>
                <a:gd name="connsiteY4" fmla="*/ 0 h 408373"/>
                <a:gd name="connsiteX0" fmla="*/ 0 w 118293"/>
                <a:gd name="connsiteY0" fmla="*/ 5937 h 414310"/>
                <a:gd name="connsiteX1" fmla="*/ 115353 w 118293"/>
                <a:gd name="connsiteY1" fmla="*/ 0 h 414310"/>
                <a:gd name="connsiteX2" fmla="*/ 118293 w 118293"/>
                <a:gd name="connsiteY2" fmla="*/ 319654 h 414310"/>
                <a:gd name="connsiteX3" fmla="*/ 17757 w 118293"/>
                <a:gd name="connsiteY3" fmla="*/ 414310 h 414310"/>
                <a:gd name="connsiteX4" fmla="*/ 0 w 118293"/>
                <a:gd name="connsiteY4" fmla="*/ 5937 h 414310"/>
                <a:gd name="connsiteX0" fmla="*/ 0 w 118293"/>
                <a:gd name="connsiteY0" fmla="*/ 5937 h 366809"/>
                <a:gd name="connsiteX1" fmla="*/ 115353 w 118293"/>
                <a:gd name="connsiteY1" fmla="*/ 0 h 366809"/>
                <a:gd name="connsiteX2" fmla="*/ 118293 w 118293"/>
                <a:gd name="connsiteY2" fmla="*/ 319654 h 366809"/>
                <a:gd name="connsiteX3" fmla="*/ 5882 w 118293"/>
                <a:gd name="connsiteY3" fmla="*/ 366809 h 366809"/>
                <a:gd name="connsiteX4" fmla="*/ 0 w 118293"/>
                <a:gd name="connsiteY4" fmla="*/ 5937 h 366809"/>
                <a:gd name="connsiteX0" fmla="*/ 0 w 115353"/>
                <a:gd name="connsiteY0" fmla="*/ 5937 h 366809"/>
                <a:gd name="connsiteX1" fmla="*/ 115353 w 115353"/>
                <a:gd name="connsiteY1" fmla="*/ 0 h 366809"/>
                <a:gd name="connsiteX2" fmla="*/ 112356 w 115353"/>
                <a:gd name="connsiteY2" fmla="*/ 278091 h 366809"/>
                <a:gd name="connsiteX3" fmla="*/ 5882 w 115353"/>
                <a:gd name="connsiteY3" fmla="*/ 366809 h 366809"/>
                <a:gd name="connsiteX4" fmla="*/ 0 w 115353"/>
                <a:gd name="connsiteY4" fmla="*/ 5937 h 3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53" h="366809">
                  <a:moveTo>
                    <a:pt x="0" y="5937"/>
                  </a:moveTo>
                  <a:lnTo>
                    <a:pt x="115353" y="0"/>
                  </a:lnTo>
                  <a:lnTo>
                    <a:pt x="112356" y="278091"/>
                  </a:lnTo>
                  <a:lnTo>
                    <a:pt x="5882" y="366809"/>
                  </a:lnTo>
                  <a:cubicBezTo>
                    <a:pt x="3921" y="246518"/>
                    <a:pt x="1961" y="126228"/>
                    <a:pt x="0" y="593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7" name="Rectangle 6">
              <a:extLst>
                <a:ext uri="{FF2B5EF4-FFF2-40B4-BE49-F238E27FC236}">
                  <a16:creationId xmlns:a16="http://schemas.microsoft.com/office/drawing/2014/main" id="{33E7EDF1-B88F-BDC2-5584-E79FCF2C4610}"/>
                </a:ext>
              </a:extLst>
            </p:cNvPr>
            <p:cNvSpPr/>
            <p:nvPr/>
          </p:nvSpPr>
          <p:spPr>
            <a:xfrm flipH="1">
              <a:off x="1487532" y="2017033"/>
              <a:ext cx="2952328" cy="288033"/>
            </a:xfrm>
            <a:custGeom>
              <a:avLst/>
              <a:gdLst>
                <a:gd name="connsiteX0" fmla="*/ 0 w 5285462"/>
                <a:gd name="connsiteY0" fmla="*/ 0 h 576064"/>
                <a:gd name="connsiteX1" fmla="*/ 4724629 w 5285462"/>
                <a:gd name="connsiteY1" fmla="*/ 0 h 576064"/>
                <a:gd name="connsiteX2" fmla="*/ 5285462 w 5285462"/>
                <a:gd name="connsiteY2" fmla="*/ 576064 h 576064"/>
                <a:gd name="connsiteX3" fmla="*/ 0 w 5285462"/>
                <a:gd name="connsiteY3" fmla="*/ 576064 h 576064"/>
                <a:gd name="connsiteX4" fmla="*/ 0 w 5285462"/>
                <a:gd name="connsiteY4" fmla="*/ 0 h 57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5462" h="576064">
                  <a:moveTo>
                    <a:pt x="0" y="0"/>
                  </a:moveTo>
                  <a:lnTo>
                    <a:pt x="4724629" y="0"/>
                  </a:lnTo>
                  <a:lnTo>
                    <a:pt x="5285462" y="576064"/>
                  </a:lnTo>
                  <a:lnTo>
                    <a:pt x="0" y="5760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78" name="TextBox 21">
            <a:extLst>
              <a:ext uri="{FF2B5EF4-FFF2-40B4-BE49-F238E27FC236}">
                <a16:creationId xmlns:a16="http://schemas.microsoft.com/office/drawing/2014/main" id="{131FF241-1076-2A5D-EA04-84AF57085817}"/>
              </a:ext>
            </a:extLst>
          </p:cNvPr>
          <p:cNvSpPr txBox="1"/>
          <p:nvPr/>
        </p:nvSpPr>
        <p:spPr>
          <a:xfrm>
            <a:off x="5522677" y="3105371"/>
            <a:ext cx="29544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err="1">
                <a:solidFill>
                  <a:schemeClr val="bg1"/>
                </a:solidFill>
              </a:rPr>
              <a:t>Zentrales</a:t>
            </a:r>
            <a:r>
              <a:rPr lang="en-US" altLang="ko-KR" sz="1400" b="1">
                <a:solidFill>
                  <a:schemeClr val="bg1"/>
                </a:solidFill>
              </a:rPr>
              <a:t> Playbook Management</a:t>
            </a:r>
            <a:endParaRPr lang="ko-KR" altLang="en-US" sz="1400" b="1">
              <a:solidFill>
                <a:schemeClr val="bg1"/>
              </a:solidFill>
            </a:endParaRPr>
          </a:p>
        </p:txBody>
      </p:sp>
      <p:grpSp>
        <p:nvGrpSpPr>
          <p:cNvPr id="79" name="Group 21">
            <a:extLst>
              <a:ext uri="{FF2B5EF4-FFF2-40B4-BE49-F238E27FC236}">
                <a16:creationId xmlns:a16="http://schemas.microsoft.com/office/drawing/2014/main" id="{2E72F7F1-9F8C-2FE8-6753-AB86721D9FF3}"/>
              </a:ext>
            </a:extLst>
          </p:cNvPr>
          <p:cNvGrpSpPr/>
          <p:nvPr/>
        </p:nvGrpSpPr>
        <p:grpSpPr>
          <a:xfrm flipH="1">
            <a:off x="4837454" y="3695877"/>
            <a:ext cx="3931226" cy="633640"/>
            <a:chOff x="1487532" y="2017033"/>
            <a:chExt cx="2952328" cy="376914"/>
          </a:xfrm>
          <a:solidFill>
            <a:schemeClr val="accent2">
              <a:lumMod val="75000"/>
            </a:schemeClr>
          </a:solidFill>
        </p:grpSpPr>
        <p:sp>
          <p:nvSpPr>
            <p:cNvPr id="80" name="Rectangle 9">
              <a:extLst>
                <a:ext uri="{FF2B5EF4-FFF2-40B4-BE49-F238E27FC236}">
                  <a16:creationId xmlns:a16="http://schemas.microsoft.com/office/drawing/2014/main" id="{911E3A90-FB5C-017D-91B3-011ED479888B}"/>
                </a:ext>
              </a:extLst>
            </p:cNvPr>
            <p:cNvSpPr/>
            <p:nvPr/>
          </p:nvSpPr>
          <p:spPr>
            <a:xfrm>
              <a:off x="4319543" y="2027138"/>
              <a:ext cx="115353" cy="366809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0 w 914400"/>
                <a:gd name="connsiteY0" fmla="*/ 292963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0 w 914400"/>
                <a:gd name="connsiteY4" fmla="*/ 292963 h 1207363"/>
                <a:gd name="connsiteX0" fmla="*/ 612559 w 914400"/>
                <a:gd name="connsiteY0" fmla="*/ 8877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612559 w 914400"/>
                <a:gd name="connsiteY4" fmla="*/ 8877 h 1207363"/>
                <a:gd name="connsiteX0" fmla="*/ 0 w 301841"/>
                <a:gd name="connsiteY0" fmla="*/ 8877 h 1207363"/>
                <a:gd name="connsiteX1" fmla="*/ 301841 w 301841"/>
                <a:gd name="connsiteY1" fmla="*/ 0 h 1207363"/>
                <a:gd name="connsiteX2" fmla="*/ 301841 w 301841"/>
                <a:gd name="connsiteY2" fmla="*/ 1207363 h 1207363"/>
                <a:gd name="connsiteX3" fmla="*/ 186432 w 301841"/>
                <a:gd name="connsiteY3" fmla="*/ 408372 h 1207363"/>
                <a:gd name="connsiteX4" fmla="*/ 0 w 301841"/>
                <a:gd name="connsiteY4" fmla="*/ 8877 h 1207363"/>
                <a:gd name="connsiteX0" fmla="*/ 0 w 133166"/>
                <a:gd name="connsiteY0" fmla="*/ 0 h 1207364"/>
                <a:gd name="connsiteX1" fmla="*/ 133166 w 133166"/>
                <a:gd name="connsiteY1" fmla="*/ 1 h 1207364"/>
                <a:gd name="connsiteX2" fmla="*/ 133166 w 133166"/>
                <a:gd name="connsiteY2" fmla="*/ 1207364 h 1207364"/>
                <a:gd name="connsiteX3" fmla="*/ 17757 w 133166"/>
                <a:gd name="connsiteY3" fmla="*/ 408373 h 1207364"/>
                <a:gd name="connsiteX4" fmla="*/ 0 w 133166"/>
                <a:gd name="connsiteY4" fmla="*/ 0 h 1207364"/>
                <a:gd name="connsiteX0" fmla="*/ 0 w 142044"/>
                <a:gd name="connsiteY0" fmla="*/ 0 h 408373"/>
                <a:gd name="connsiteX1" fmla="*/ 133166 w 142044"/>
                <a:gd name="connsiteY1" fmla="*/ 1 h 408373"/>
                <a:gd name="connsiteX2" fmla="*/ 142044 w 142044"/>
                <a:gd name="connsiteY2" fmla="*/ 301842 h 408373"/>
                <a:gd name="connsiteX3" fmla="*/ 17757 w 142044"/>
                <a:gd name="connsiteY3" fmla="*/ 408373 h 408373"/>
                <a:gd name="connsiteX4" fmla="*/ 0 w 142044"/>
                <a:gd name="connsiteY4" fmla="*/ 0 h 408373"/>
                <a:gd name="connsiteX0" fmla="*/ 0 w 133166"/>
                <a:gd name="connsiteY0" fmla="*/ 0 h 408373"/>
                <a:gd name="connsiteX1" fmla="*/ 133166 w 133166"/>
                <a:gd name="connsiteY1" fmla="*/ 1 h 408373"/>
                <a:gd name="connsiteX2" fmla="*/ 118293 w 133166"/>
                <a:gd name="connsiteY2" fmla="*/ 313717 h 408373"/>
                <a:gd name="connsiteX3" fmla="*/ 17757 w 133166"/>
                <a:gd name="connsiteY3" fmla="*/ 408373 h 408373"/>
                <a:gd name="connsiteX4" fmla="*/ 0 w 133166"/>
                <a:gd name="connsiteY4" fmla="*/ 0 h 408373"/>
                <a:gd name="connsiteX0" fmla="*/ 0 w 118293"/>
                <a:gd name="connsiteY0" fmla="*/ 5937 h 414310"/>
                <a:gd name="connsiteX1" fmla="*/ 115353 w 118293"/>
                <a:gd name="connsiteY1" fmla="*/ 0 h 414310"/>
                <a:gd name="connsiteX2" fmla="*/ 118293 w 118293"/>
                <a:gd name="connsiteY2" fmla="*/ 319654 h 414310"/>
                <a:gd name="connsiteX3" fmla="*/ 17757 w 118293"/>
                <a:gd name="connsiteY3" fmla="*/ 414310 h 414310"/>
                <a:gd name="connsiteX4" fmla="*/ 0 w 118293"/>
                <a:gd name="connsiteY4" fmla="*/ 5937 h 414310"/>
                <a:gd name="connsiteX0" fmla="*/ 0 w 118293"/>
                <a:gd name="connsiteY0" fmla="*/ 5937 h 366809"/>
                <a:gd name="connsiteX1" fmla="*/ 115353 w 118293"/>
                <a:gd name="connsiteY1" fmla="*/ 0 h 366809"/>
                <a:gd name="connsiteX2" fmla="*/ 118293 w 118293"/>
                <a:gd name="connsiteY2" fmla="*/ 319654 h 366809"/>
                <a:gd name="connsiteX3" fmla="*/ 5882 w 118293"/>
                <a:gd name="connsiteY3" fmla="*/ 366809 h 366809"/>
                <a:gd name="connsiteX4" fmla="*/ 0 w 118293"/>
                <a:gd name="connsiteY4" fmla="*/ 5937 h 366809"/>
                <a:gd name="connsiteX0" fmla="*/ 0 w 115353"/>
                <a:gd name="connsiteY0" fmla="*/ 5937 h 366809"/>
                <a:gd name="connsiteX1" fmla="*/ 115353 w 115353"/>
                <a:gd name="connsiteY1" fmla="*/ 0 h 366809"/>
                <a:gd name="connsiteX2" fmla="*/ 112356 w 115353"/>
                <a:gd name="connsiteY2" fmla="*/ 278091 h 366809"/>
                <a:gd name="connsiteX3" fmla="*/ 5882 w 115353"/>
                <a:gd name="connsiteY3" fmla="*/ 366809 h 366809"/>
                <a:gd name="connsiteX4" fmla="*/ 0 w 115353"/>
                <a:gd name="connsiteY4" fmla="*/ 5937 h 3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53" h="366809">
                  <a:moveTo>
                    <a:pt x="0" y="5937"/>
                  </a:moveTo>
                  <a:lnTo>
                    <a:pt x="115353" y="0"/>
                  </a:lnTo>
                  <a:lnTo>
                    <a:pt x="112356" y="278091"/>
                  </a:lnTo>
                  <a:lnTo>
                    <a:pt x="5882" y="366809"/>
                  </a:lnTo>
                  <a:cubicBezTo>
                    <a:pt x="3921" y="246518"/>
                    <a:pt x="1961" y="126228"/>
                    <a:pt x="0" y="593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1" name="Rectangle 6">
              <a:extLst>
                <a:ext uri="{FF2B5EF4-FFF2-40B4-BE49-F238E27FC236}">
                  <a16:creationId xmlns:a16="http://schemas.microsoft.com/office/drawing/2014/main" id="{C10774B4-2DEC-2AF2-8AEA-ADE75744509A}"/>
                </a:ext>
              </a:extLst>
            </p:cNvPr>
            <p:cNvSpPr/>
            <p:nvPr/>
          </p:nvSpPr>
          <p:spPr>
            <a:xfrm flipH="1">
              <a:off x="1487532" y="2017033"/>
              <a:ext cx="2952328" cy="288033"/>
            </a:xfrm>
            <a:custGeom>
              <a:avLst/>
              <a:gdLst>
                <a:gd name="connsiteX0" fmla="*/ 0 w 5285462"/>
                <a:gd name="connsiteY0" fmla="*/ 0 h 576064"/>
                <a:gd name="connsiteX1" fmla="*/ 4724629 w 5285462"/>
                <a:gd name="connsiteY1" fmla="*/ 0 h 576064"/>
                <a:gd name="connsiteX2" fmla="*/ 5285462 w 5285462"/>
                <a:gd name="connsiteY2" fmla="*/ 576064 h 576064"/>
                <a:gd name="connsiteX3" fmla="*/ 0 w 5285462"/>
                <a:gd name="connsiteY3" fmla="*/ 576064 h 576064"/>
                <a:gd name="connsiteX4" fmla="*/ 0 w 5285462"/>
                <a:gd name="connsiteY4" fmla="*/ 0 h 57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5462" h="576064">
                  <a:moveTo>
                    <a:pt x="0" y="0"/>
                  </a:moveTo>
                  <a:lnTo>
                    <a:pt x="4724629" y="0"/>
                  </a:lnTo>
                  <a:lnTo>
                    <a:pt x="5285462" y="576064"/>
                  </a:lnTo>
                  <a:lnTo>
                    <a:pt x="0" y="5760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82" name="TextBox 25">
            <a:extLst>
              <a:ext uri="{FF2B5EF4-FFF2-40B4-BE49-F238E27FC236}">
                <a16:creationId xmlns:a16="http://schemas.microsoft.com/office/drawing/2014/main" id="{E6CC3273-0C6D-ABEC-F8A2-502C4E088A71}"/>
              </a:ext>
            </a:extLst>
          </p:cNvPr>
          <p:cNvSpPr txBox="1"/>
          <p:nvPr/>
        </p:nvSpPr>
        <p:spPr>
          <a:xfrm>
            <a:off x="5527099" y="3775775"/>
            <a:ext cx="24961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err="1">
                <a:solidFill>
                  <a:schemeClr val="bg1"/>
                </a:solidFill>
              </a:rPr>
              <a:t>Dynamisches</a:t>
            </a:r>
            <a:r>
              <a:rPr lang="en-US" altLang="ko-KR" sz="1400" b="1">
                <a:solidFill>
                  <a:schemeClr val="bg1"/>
                </a:solidFill>
              </a:rPr>
              <a:t> Inventory</a:t>
            </a:r>
            <a:endParaRPr lang="ko-KR" altLang="en-US" sz="1400" b="1">
              <a:solidFill>
                <a:schemeClr val="bg1"/>
              </a:solidFill>
            </a:endParaRPr>
          </a:p>
        </p:txBody>
      </p:sp>
      <p:sp>
        <p:nvSpPr>
          <p:cNvPr id="88" name="Textplatzhalter 17">
            <a:extLst>
              <a:ext uri="{FF2B5EF4-FFF2-40B4-BE49-F238E27FC236}">
                <a16:creationId xmlns:a16="http://schemas.microsoft.com/office/drawing/2014/main" id="{53C58468-EEE5-AAEE-05B0-9B2399998DC6}"/>
              </a:ext>
            </a:extLst>
          </p:cNvPr>
          <p:cNvSpPr txBox="1">
            <a:spLocks/>
          </p:cNvSpPr>
          <p:nvPr/>
        </p:nvSpPr>
        <p:spPr bwMode="gray">
          <a:xfrm>
            <a:off x="119336" y="2002945"/>
            <a:ext cx="1205115" cy="44184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600" b="0" cap="none" baseline="0" smtClean="0">
                <a:ea typeface="+mj-ea"/>
                <a:cs typeface="Segoe UI Light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b="0" cap="none" baseline="0" smtClean="0"/>
            </a:lvl2pPr>
            <a:lvl3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lang="de-DE" b="0" smtClean="0"/>
            </a:lvl3pPr>
            <a:lvl4pPr marL="432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de-DE" b="0" smtClean="0"/>
            </a:lvl4pPr>
            <a:lvl5pPr marL="648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GB" b="0"/>
            </a:lvl5pPr>
            <a:lvl6pPr marL="864000" marR="0" indent="-2160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6pPr>
            <a:lvl7pPr marL="864000" marR="0" indent="-2160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7pPr>
            <a:lvl8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8pPr>
            <a:lvl9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9pPr>
          </a:lstStyle>
          <a:p>
            <a:pPr rtl="0">
              <a:spcAft>
                <a:spcPts val="0"/>
              </a:spcAft>
            </a:pPr>
            <a:r>
              <a:rPr lang="de-DE" sz="2800" b="1">
                <a:solidFill>
                  <a:schemeClr val="accent2"/>
                </a:solidFill>
                <a:latin typeface="+mj-lt"/>
              </a:rPr>
              <a:t>01</a:t>
            </a:r>
            <a:endParaRPr lang="de-DE" sz="1100" b="1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91" name="Rectangle 9">
            <a:extLst>
              <a:ext uri="{FF2B5EF4-FFF2-40B4-BE49-F238E27FC236}">
                <a16:creationId xmlns:a16="http://schemas.microsoft.com/office/drawing/2014/main" id="{5B1A40B6-F04E-9F3E-BB5A-4542DC2AE59B}"/>
              </a:ext>
            </a:extLst>
          </p:cNvPr>
          <p:cNvSpPr/>
          <p:nvPr/>
        </p:nvSpPr>
        <p:spPr>
          <a:xfrm flipH="1">
            <a:off x="395494" y="4400718"/>
            <a:ext cx="153600" cy="616652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0 w 914400"/>
              <a:gd name="connsiteY0" fmla="*/ 292963 h 1207363"/>
              <a:gd name="connsiteX1" fmla="*/ 914400 w 914400"/>
              <a:gd name="connsiteY1" fmla="*/ 0 h 1207363"/>
              <a:gd name="connsiteX2" fmla="*/ 914400 w 914400"/>
              <a:gd name="connsiteY2" fmla="*/ 1207363 h 1207363"/>
              <a:gd name="connsiteX3" fmla="*/ 0 w 914400"/>
              <a:gd name="connsiteY3" fmla="*/ 1207363 h 1207363"/>
              <a:gd name="connsiteX4" fmla="*/ 0 w 914400"/>
              <a:gd name="connsiteY4" fmla="*/ 292963 h 1207363"/>
              <a:gd name="connsiteX0" fmla="*/ 612559 w 914400"/>
              <a:gd name="connsiteY0" fmla="*/ 8877 h 1207363"/>
              <a:gd name="connsiteX1" fmla="*/ 914400 w 914400"/>
              <a:gd name="connsiteY1" fmla="*/ 0 h 1207363"/>
              <a:gd name="connsiteX2" fmla="*/ 914400 w 914400"/>
              <a:gd name="connsiteY2" fmla="*/ 1207363 h 1207363"/>
              <a:gd name="connsiteX3" fmla="*/ 0 w 914400"/>
              <a:gd name="connsiteY3" fmla="*/ 1207363 h 1207363"/>
              <a:gd name="connsiteX4" fmla="*/ 612559 w 914400"/>
              <a:gd name="connsiteY4" fmla="*/ 8877 h 1207363"/>
              <a:gd name="connsiteX0" fmla="*/ 0 w 301841"/>
              <a:gd name="connsiteY0" fmla="*/ 8877 h 1207363"/>
              <a:gd name="connsiteX1" fmla="*/ 301841 w 301841"/>
              <a:gd name="connsiteY1" fmla="*/ 0 h 1207363"/>
              <a:gd name="connsiteX2" fmla="*/ 301841 w 301841"/>
              <a:gd name="connsiteY2" fmla="*/ 1207363 h 1207363"/>
              <a:gd name="connsiteX3" fmla="*/ 186432 w 301841"/>
              <a:gd name="connsiteY3" fmla="*/ 408372 h 1207363"/>
              <a:gd name="connsiteX4" fmla="*/ 0 w 301841"/>
              <a:gd name="connsiteY4" fmla="*/ 8877 h 1207363"/>
              <a:gd name="connsiteX0" fmla="*/ 0 w 133166"/>
              <a:gd name="connsiteY0" fmla="*/ 0 h 1207364"/>
              <a:gd name="connsiteX1" fmla="*/ 133166 w 133166"/>
              <a:gd name="connsiteY1" fmla="*/ 1 h 1207364"/>
              <a:gd name="connsiteX2" fmla="*/ 133166 w 133166"/>
              <a:gd name="connsiteY2" fmla="*/ 1207364 h 1207364"/>
              <a:gd name="connsiteX3" fmla="*/ 17757 w 133166"/>
              <a:gd name="connsiteY3" fmla="*/ 408373 h 1207364"/>
              <a:gd name="connsiteX4" fmla="*/ 0 w 133166"/>
              <a:gd name="connsiteY4" fmla="*/ 0 h 1207364"/>
              <a:gd name="connsiteX0" fmla="*/ 0 w 142044"/>
              <a:gd name="connsiteY0" fmla="*/ 0 h 408373"/>
              <a:gd name="connsiteX1" fmla="*/ 133166 w 142044"/>
              <a:gd name="connsiteY1" fmla="*/ 1 h 408373"/>
              <a:gd name="connsiteX2" fmla="*/ 142044 w 142044"/>
              <a:gd name="connsiteY2" fmla="*/ 301842 h 408373"/>
              <a:gd name="connsiteX3" fmla="*/ 17757 w 142044"/>
              <a:gd name="connsiteY3" fmla="*/ 408373 h 408373"/>
              <a:gd name="connsiteX4" fmla="*/ 0 w 142044"/>
              <a:gd name="connsiteY4" fmla="*/ 0 h 408373"/>
              <a:gd name="connsiteX0" fmla="*/ 0 w 133166"/>
              <a:gd name="connsiteY0" fmla="*/ 0 h 408373"/>
              <a:gd name="connsiteX1" fmla="*/ 133166 w 133166"/>
              <a:gd name="connsiteY1" fmla="*/ 1 h 408373"/>
              <a:gd name="connsiteX2" fmla="*/ 118293 w 133166"/>
              <a:gd name="connsiteY2" fmla="*/ 313717 h 408373"/>
              <a:gd name="connsiteX3" fmla="*/ 17757 w 133166"/>
              <a:gd name="connsiteY3" fmla="*/ 408373 h 408373"/>
              <a:gd name="connsiteX4" fmla="*/ 0 w 133166"/>
              <a:gd name="connsiteY4" fmla="*/ 0 h 408373"/>
              <a:gd name="connsiteX0" fmla="*/ 0 w 118293"/>
              <a:gd name="connsiteY0" fmla="*/ 5937 h 414310"/>
              <a:gd name="connsiteX1" fmla="*/ 115353 w 118293"/>
              <a:gd name="connsiteY1" fmla="*/ 0 h 414310"/>
              <a:gd name="connsiteX2" fmla="*/ 118293 w 118293"/>
              <a:gd name="connsiteY2" fmla="*/ 319654 h 414310"/>
              <a:gd name="connsiteX3" fmla="*/ 17757 w 118293"/>
              <a:gd name="connsiteY3" fmla="*/ 414310 h 414310"/>
              <a:gd name="connsiteX4" fmla="*/ 0 w 118293"/>
              <a:gd name="connsiteY4" fmla="*/ 5937 h 414310"/>
              <a:gd name="connsiteX0" fmla="*/ 0 w 118293"/>
              <a:gd name="connsiteY0" fmla="*/ 5937 h 366809"/>
              <a:gd name="connsiteX1" fmla="*/ 115353 w 118293"/>
              <a:gd name="connsiteY1" fmla="*/ 0 h 366809"/>
              <a:gd name="connsiteX2" fmla="*/ 118293 w 118293"/>
              <a:gd name="connsiteY2" fmla="*/ 319654 h 366809"/>
              <a:gd name="connsiteX3" fmla="*/ 5882 w 118293"/>
              <a:gd name="connsiteY3" fmla="*/ 366809 h 366809"/>
              <a:gd name="connsiteX4" fmla="*/ 0 w 118293"/>
              <a:gd name="connsiteY4" fmla="*/ 5937 h 366809"/>
              <a:gd name="connsiteX0" fmla="*/ 0 w 115353"/>
              <a:gd name="connsiteY0" fmla="*/ 5937 h 366809"/>
              <a:gd name="connsiteX1" fmla="*/ 115353 w 115353"/>
              <a:gd name="connsiteY1" fmla="*/ 0 h 366809"/>
              <a:gd name="connsiteX2" fmla="*/ 112356 w 115353"/>
              <a:gd name="connsiteY2" fmla="*/ 278091 h 366809"/>
              <a:gd name="connsiteX3" fmla="*/ 5882 w 115353"/>
              <a:gd name="connsiteY3" fmla="*/ 366809 h 366809"/>
              <a:gd name="connsiteX4" fmla="*/ 0 w 115353"/>
              <a:gd name="connsiteY4" fmla="*/ 5937 h 36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353" h="366809">
                <a:moveTo>
                  <a:pt x="0" y="5937"/>
                </a:moveTo>
                <a:lnTo>
                  <a:pt x="115353" y="0"/>
                </a:lnTo>
                <a:lnTo>
                  <a:pt x="112356" y="278091"/>
                </a:lnTo>
                <a:lnTo>
                  <a:pt x="5882" y="366809"/>
                </a:lnTo>
                <a:cubicBezTo>
                  <a:pt x="3921" y="246518"/>
                  <a:pt x="1961" y="126228"/>
                  <a:pt x="0" y="5937"/>
                </a:cubicBez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9" name="Rectangle 6">
            <a:extLst>
              <a:ext uri="{FF2B5EF4-FFF2-40B4-BE49-F238E27FC236}">
                <a16:creationId xmlns:a16="http://schemas.microsoft.com/office/drawing/2014/main" id="{8C615BF0-D1CF-0B7D-98A1-954417D50496}"/>
              </a:ext>
            </a:extLst>
          </p:cNvPr>
          <p:cNvSpPr/>
          <p:nvPr/>
        </p:nvSpPr>
        <p:spPr>
          <a:xfrm>
            <a:off x="395494" y="4408247"/>
            <a:ext cx="3931226" cy="484220"/>
          </a:xfrm>
          <a:custGeom>
            <a:avLst/>
            <a:gdLst>
              <a:gd name="connsiteX0" fmla="*/ 0 w 5285462"/>
              <a:gd name="connsiteY0" fmla="*/ 0 h 576064"/>
              <a:gd name="connsiteX1" fmla="*/ 4724629 w 5285462"/>
              <a:gd name="connsiteY1" fmla="*/ 0 h 576064"/>
              <a:gd name="connsiteX2" fmla="*/ 5285462 w 5285462"/>
              <a:gd name="connsiteY2" fmla="*/ 576064 h 576064"/>
              <a:gd name="connsiteX3" fmla="*/ 0 w 5285462"/>
              <a:gd name="connsiteY3" fmla="*/ 576064 h 576064"/>
              <a:gd name="connsiteX4" fmla="*/ 0 w 5285462"/>
              <a:gd name="connsiteY4" fmla="*/ 0 h 57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85462" h="576064">
                <a:moveTo>
                  <a:pt x="0" y="0"/>
                </a:moveTo>
                <a:lnTo>
                  <a:pt x="4724629" y="0"/>
                </a:lnTo>
                <a:lnTo>
                  <a:pt x="5285462" y="576064"/>
                </a:lnTo>
                <a:lnTo>
                  <a:pt x="0" y="57606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ko-KR" sz="1400" b="1">
                <a:solidFill>
                  <a:schemeClr val="bg1"/>
                </a:solidFill>
              </a:rPr>
              <a:t>Zeit- und Ressourcenplanung</a:t>
            </a:r>
            <a:endParaRPr lang="ko-KR" altLang="en-US" sz="1400" b="1">
              <a:solidFill>
                <a:schemeClr val="bg1"/>
              </a:solidFill>
            </a:endParaRPr>
          </a:p>
        </p:txBody>
      </p:sp>
      <p:grpSp>
        <p:nvGrpSpPr>
          <p:cNvPr id="92" name="Group 8">
            <a:extLst>
              <a:ext uri="{FF2B5EF4-FFF2-40B4-BE49-F238E27FC236}">
                <a16:creationId xmlns:a16="http://schemas.microsoft.com/office/drawing/2014/main" id="{EE451A89-6EBD-6C29-6EBE-9BC36E148B74}"/>
              </a:ext>
            </a:extLst>
          </p:cNvPr>
          <p:cNvGrpSpPr/>
          <p:nvPr/>
        </p:nvGrpSpPr>
        <p:grpSpPr>
          <a:xfrm flipH="1">
            <a:off x="372958" y="5074573"/>
            <a:ext cx="3931226" cy="633640"/>
            <a:chOff x="1487532" y="2017033"/>
            <a:chExt cx="2952328" cy="376914"/>
          </a:xfrm>
        </p:grpSpPr>
        <p:sp>
          <p:nvSpPr>
            <p:cNvPr id="93" name="Rectangle 9">
              <a:extLst>
                <a:ext uri="{FF2B5EF4-FFF2-40B4-BE49-F238E27FC236}">
                  <a16:creationId xmlns:a16="http://schemas.microsoft.com/office/drawing/2014/main" id="{DD93D7AA-2615-74E2-DC7B-A35CBA15C86F}"/>
                </a:ext>
              </a:extLst>
            </p:cNvPr>
            <p:cNvSpPr/>
            <p:nvPr/>
          </p:nvSpPr>
          <p:spPr>
            <a:xfrm>
              <a:off x="4319543" y="2027138"/>
              <a:ext cx="115353" cy="366809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0 w 914400"/>
                <a:gd name="connsiteY0" fmla="*/ 292963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0 w 914400"/>
                <a:gd name="connsiteY4" fmla="*/ 292963 h 1207363"/>
                <a:gd name="connsiteX0" fmla="*/ 612559 w 914400"/>
                <a:gd name="connsiteY0" fmla="*/ 8877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612559 w 914400"/>
                <a:gd name="connsiteY4" fmla="*/ 8877 h 1207363"/>
                <a:gd name="connsiteX0" fmla="*/ 0 w 301841"/>
                <a:gd name="connsiteY0" fmla="*/ 8877 h 1207363"/>
                <a:gd name="connsiteX1" fmla="*/ 301841 w 301841"/>
                <a:gd name="connsiteY1" fmla="*/ 0 h 1207363"/>
                <a:gd name="connsiteX2" fmla="*/ 301841 w 301841"/>
                <a:gd name="connsiteY2" fmla="*/ 1207363 h 1207363"/>
                <a:gd name="connsiteX3" fmla="*/ 186432 w 301841"/>
                <a:gd name="connsiteY3" fmla="*/ 408372 h 1207363"/>
                <a:gd name="connsiteX4" fmla="*/ 0 w 301841"/>
                <a:gd name="connsiteY4" fmla="*/ 8877 h 1207363"/>
                <a:gd name="connsiteX0" fmla="*/ 0 w 133166"/>
                <a:gd name="connsiteY0" fmla="*/ 0 h 1207364"/>
                <a:gd name="connsiteX1" fmla="*/ 133166 w 133166"/>
                <a:gd name="connsiteY1" fmla="*/ 1 h 1207364"/>
                <a:gd name="connsiteX2" fmla="*/ 133166 w 133166"/>
                <a:gd name="connsiteY2" fmla="*/ 1207364 h 1207364"/>
                <a:gd name="connsiteX3" fmla="*/ 17757 w 133166"/>
                <a:gd name="connsiteY3" fmla="*/ 408373 h 1207364"/>
                <a:gd name="connsiteX4" fmla="*/ 0 w 133166"/>
                <a:gd name="connsiteY4" fmla="*/ 0 h 1207364"/>
                <a:gd name="connsiteX0" fmla="*/ 0 w 142044"/>
                <a:gd name="connsiteY0" fmla="*/ 0 h 408373"/>
                <a:gd name="connsiteX1" fmla="*/ 133166 w 142044"/>
                <a:gd name="connsiteY1" fmla="*/ 1 h 408373"/>
                <a:gd name="connsiteX2" fmla="*/ 142044 w 142044"/>
                <a:gd name="connsiteY2" fmla="*/ 301842 h 408373"/>
                <a:gd name="connsiteX3" fmla="*/ 17757 w 142044"/>
                <a:gd name="connsiteY3" fmla="*/ 408373 h 408373"/>
                <a:gd name="connsiteX4" fmla="*/ 0 w 142044"/>
                <a:gd name="connsiteY4" fmla="*/ 0 h 408373"/>
                <a:gd name="connsiteX0" fmla="*/ 0 w 133166"/>
                <a:gd name="connsiteY0" fmla="*/ 0 h 408373"/>
                <a:gd name="connsiteX1" fmla="*/ 133166 w 133166"/>
                <a:gd name="connsiteY1" fmla="*/ 1 h 408373"/>
                <a:gd name="connsiteX2" fmla="*/ 118293 w 133166"/>
                <a:gd name="connsiteY2" fmla="*/ 313717 h 408373"/>
                <a:gd name="connsiteX3" fmla="*/ 17757 w 133166"/>
                <a:gd name="connsiteY3" fmla="*/ 408373 h 408373"/>
                <a:gd name="connsiteX4" fmla="*/ 0 w 133166"/>
                <a:gd name="connsiteY4" fmla="*/ 0 h 408373"/>
                <a:gd name="connsiteX0" fmla="*/ 0 w 118293"/>
                <a:gd name="connsiteY0" fmla="*/ 5937 h 414310"/>
                <a:gd name="connsiteX1" fmla="*/ 115353 w 118293"/>
                <a:gd name="connsiteY1" fmla="*/ 0 h 414310"/>
                <a:gd name="connsiteX2" fmla="*/ 118293 w 118293"/>
                <a:gd name="connsiteY2" fmla="*/ 319654 h 414310"/>
                <a:gd name="connsiteX3" fmla="*/ 17757 w 118293"/>
                <a:gd name="connsiteY3" fmla="*/ 414310 h 414310"/>
                <a:gd name="connsiteX4" fmla="*/ 0 w 118293"/>
                <a:gd name="connsiteY4" fmla="*/ 5937 h 414310"/>
                <a:gd name="connsiteX0" fmla="*/ 0 w 118293"/>
                <a:gd name="connsiteY0" fmla="*/ 5937 h 366809"/>
                <a:gd name="connsiteX1" fmla="*/ 115353 w 118293"/>
                <a:gd name="connsiteY1" fmla="*/ 0 h 366809"/>
                <a:gd name="connsiteX2" fmla="*/ 118293 w 118293"/>
                <a:gd name="connsiteY2" fmla="*/ 319654 h 366809"/>
                <a:gd name="connsiteX3" fmla="*/ 5882 w 118293"/>
                <a:gd name="connsiteY3" fmla="*/ 366809 h 366809"/>
                <a:gd name="connsiteX4" fmla="*/ 0 w 118293"/>
                <a:gd name="connsiteY4" fmla="*/ 5937 h 366809"/>
                <a:gd name="connsiteX0" fmla="*/ 0 w 115353"/>
                <a:gd name="connsiteY0" fmla="*/ 5937 h 366809"/>
                <a:gd name="connsiteX1" fmla="*/ 115353 w 115353"/>
                <a:gd name="connsiteY1" fmla="*/ 0 h 366809"/>
                <a:gd name="connsiteX2" fmla="*/ 112356 w 115353"/>
                <a:gd name="connsiteY2" fmla="*/ 278091 h 366809"/>
                <a:gd name="connsiteX3" fmla="*/ 5882 w 115353"/>
                <a:gd name="connsiteY3" fmla="*/ 366809 h 366809"/>
                <a:gd name="connsiteX4" fmla="*/ 0 w 115353"/>
                <a:gd name="connsiteY4" fmla="*/ 5937 h 3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53" h="366809">
                  <a:moveTo>
                    <a:pt x="0" y="5937"/>
                  </a:moveTo>
                  <a:lnTo>
                    <a:pt x="115353" y="0"/>
                  </a:lnTo>
                  <a:lnTo>
                    <a:pt x="112356" y="278091"/>
                  </a:lnTo>
                  <a:lnTo>
                    <a:pt x="5882" y="366809"/>
                  </a:lnTo>
                  <a:cubicBezTo>
                    <a:pt x="3921" y="246518"/>
                    <a:pt x="1961" y="126228"/>
                    <a:pt x="0" y="5937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94" name="Rectangle 6">
              <a:extLst>
                <a:ext uri="{FF2B5EF4-FFF2-40B4-BE49-F238E27FC236}">
                  <a16:creationId xmlns:a16="http://schemas.microsoft.com/office/drawing/2014/main" id="{AA2CDD4C-3A51-3007-2F89-CA81DBC69777}"/>
                </a:ext>
              </a:extLst>
            </p:cNvPr>
            <p:cNvSpPr/>
            <p:nvPr/>
          </p:nvSpPr>
          <p:spPr>
            <a:xfrm flipH="1">
              <a:off x="1487532" y="2017033"/>
              <a:ext cx="2952328" cy="288033"/>
            </a:xfrm>
            <a:custGeom>
              <a:avLst/>
              <a:gdLst>
                <a:gd name="connsiteX0" fmla="*/ 0 w 5285462"/>
                <a:gd name="connsiteY0" fmla="*/ 0 h 576064"/>
                <a:gd name="connsiteX1" fmla="*/ 4724629 w 5285462"/>
                <a:gd name="connsiteY1" fmla="*/ 0 h 576064"/>
                <a:gd name="connsiteX2" fmla="*/ 5285462 w 5285462"/>
                <a:gd name="connsiteY2" fmla="*/ 576064 h 576064"/>
                <a:gd name="connsiteX3" fmla="*/ 0 w 5285462"/>
                <a:gd name="connsiteY3" fmla="*/ 576064 h 576064"/>
                <a:gd name="connsiteX4" fmla="*/ 0 w 5285462"/>
                <a:gd name="connsiteY4" fmla="*/ 0 h 57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5462" h="576064">
                  <a:moveTo>
                    <a:pt x="0" y="0"/>
                  </a:moveTo>
                  <a:lnTo>
                    <a:pt x="4724629" y="0"/>
                  </a:lnTo>
                  <a:lnTo>
                    <a:pt x="5285462" y="576064"/>
                  </a:lnTo>
                  <a:lnTo>
                    <a:pt x="0" y="576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ko-KR" sz="1400" b="1">
                  <a:solidFill>
                    <a:schemeClr val="bg1"/>
                  </a:solidFill>
                </a:rPr>
                <a:t>Dokumentation &amp; Best Practices</a:t>
              </a:r>
              <a:endParaRPr lang="ko-KR" altLang="en-US" sz="1400" b="1">
                <a:solidFill>
                  <a:schemeClr val="bg1"/>
                </a:solidFill>
              </a:endParaRPr>
            </a:p>
          </p:txBody>
        </p:sp>
      </p:grpSp>
      <p:sp>
        <p:nvSpPr>
          <p:cNvPr id="95" name="TextBox 13">
            <a:extLst>
              <a:ext uri="{FF2B5EF4-FFF2-40B4-BE49-F238E27FC236}">
                <a16:creationId xmlns:a16="http://schemas.microsoft.com/office/drawing/2014/main" id="{45A654E5-065E-1235-AEE5-9D93463439CF}"/>
              </a:ext>
            </a:extLst>
          </p:cNvPr>
          <p:cNvSpPr txBox="1"/>
          <p:nvPr/>
        </p:nvSpPr>
        <p:spPr>
          <a:xfrm>
            <a:off x="5960824" y="1999705"/>
            <a:ext cx="3349577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rtl="0">
              <a:spcAft>
                <a:spcPts val="0"/>
              </a:spcAft>
            </a:pPr>
            <a:r>
              <a:rPr lang="de-DE" sz="1600" b="1">
                <a:solidFill>
                  <a:schemeClr val="accent1"/>
                </a:solidFill>
                <a:latin typeface="+mj-lt"/>
              </a:rPr>
              <a:t>Technische Hürden</a:t>
            </a:r>
          </a:p>
        </p:txBody>
      </p:sp>
      <p:sp>
        <p:nvSpPr>
          <p:cNvPr id="96" name="Textplatzhalter 17">
            <a:extLst>
              <a:ext uri="{FF2B5EF4-FFF2-40B4-BE49-F238E27FC236}">
                <a16:creationId xmlns:a16="http://schemas.microsoft.com/office/drawing/2014/main" id="{96849FBA-C8AF-D3A9-6870-92D1D3283A48}"/>
              </a:ext>
            </a:extLst>
          </p:cNvPr>
          <p:cNvSpPr txBox="1">
            <a:spLocks/>
          </p:cNvSpPr>
          <p:nvPr/>
        </p:nvSpPr>
        <p:spPr bwMode="gray">
          <a:xfrm>
            <a:off x="4583832" y="2002945"/>
            <a:ext cx="1205115" cy="44184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600" b="0" cap="none" baseline="0" smtClean="0">
                <a:ea typeface="+mj-ea"/>
                <a:cs typeface="Segoe UI Light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b="0" cap="none" baseline="0" smtClean="0"/>
            </a:lvl2pPr>
            <a:lvl3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lang="de-DE" b="0" smtClean="0"/>
            </a:lvl3pPr>
            <a:lvl4pPr marL="432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de-DE" b="0" smtClean="0"/>
            </a:lvl4pPr>
            <a:lvl5pPr marL="648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GB" b="0"/>
            </a:lvl5pPr>
            <a:lvl6pPr marL="864000" marR="0" indent="-2160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6pPr>
            <a:lvl7pPr marL="864000" marR="0" indent="-2160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7pPr>
            <a:lvl8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8pPr>
            <a:lvl9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9pPr>
          </a:lstStyle>
          <a:p>
            <a:pPr rtl="0">
              <a:spcAft>
                <a:spcPts val="0"/>
              </a:spcAft>
            </a:pPr>
            <a:r>
              <a:rPr lang="de-DE" sz="2800" b="1">
                <a:solidFill>
                  <a:schemeClr val="accent1"/>
                </a:solidFill>
                <a:latin typeface="+mj-lt"/>
              </a:rPr>
              <a:t>02</a:t>
            </a:r>
            <a:endParaRPr lang="de-DE" sz="1100" b="1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97" name="Group 21">
            <a:extLst>
              <a:ext uri="{FF2B5EF4-FFF2-40B4-BE49-F238E27FC236}">
                <a16:creationId xmlns:a16="http://schemas.microsoft.com/office/drawing/2014/main" id="{4B037310-BD8D-6FB8-35DE-7B31D69821FB}"/>
              </a:ext>
            </a:extLst>
          </p:cNvPr>
          <p:cNvGrpSpPr/>
          <p:nvPr/>
        </p:nvGrpSpPr>
        <p:grpSpPr>
          <a:xfrm flipH="1">
            <a:off x="4837454" y="4370493"/>
            <a:ext cx="3931226" cy="633640"/>
            <a:chOff x="1487532" y="2017033"/>
            <a:chExt cx="2952328" cy="376914"/>
          </a:xfrm>
          <a:solidFill>
            <a:schemeClr val="accent2">
              <a:lumMod val="75000"/>
            </a:schemeClr>
          </a:solidFill>
        </p:grpSpPr>
        <p:sp>
          <p:nvSpPr>
            <p:cNvPr id="98" name="Rectangle 9">
              <a:extLst>
                <a:ext uri="{FF2B5EF4-FFF2-40B4-BE49-F238E27FC236}">
                  <a16:creationId xmlns:a16="http://schemas.microsoft.com/office/drawing/2014/main" id="{5928AEBC-0B9B-2FBA-5268-55AB1F66EA2A}"/>
                </a:ext>
              </a:extLst>
            </p:cNvPr>
            <p:cNvSpPr/>
            <p:nvPr/>
          </p:nvSpPr>
          <p:spPr>
            <a:xfrm>
              <a:off x="4319543" y="2027138"/>
              <a:ext cx="115353" cy="366809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0 w 914400"/>
                <a:gd name="connsiteY0" fmla="*/ 292963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0 w 914400"/>
                <a:gd name="connsiteY4" fmla="*/ 292963 h 1207363"/>
                <a:gd name="connsiteX0" fmla="*/ 612559 w 914400"/>
                <a:gd name="connsiteY0" fmla="*/ 8877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612559 w 914400"/>
                <a:gd name="connsiteY4" fmla="*/ 8877 h 1207363"/>
                <a:gd name="connsiteX0" fmla="*/ 0 w 301841"/>
                <a:gd name="connsiteY0" fmla="*/ 8877 h 1207363"/>
                <a:gd name="connsiteX1" fmla="*/ 301841 w 301841"/>
                <a:gd name="connsiteY1" fmla="*/ 0 h 1207363"/>
                <a:gd name="connsiteX2" fmla="*/ 301841 w 301841"/>
                <a:gd name="connsiteY2" fmla="*/ 1207363 h 1207363"/>
                <a:gd name="connsiteX3" fmla="*/ 186432 w 301841"/>
                <a:gd name="connsiteY3" fmla="*/ 408372 h 1207363"/>
                <a:gd name="connsiteX4" fmla="*/ 0 w 301841"/>
                <a:gd name="connsiteY4" fmla="*/ 8877 h 1207363"/>
                <a:gd name="connsiteX0" fmla="*/ 0 w 133166"/>
                <a:gd name="connsiteY0" fmla="*/ 0 h 1207364"/>
                <a:gd name="connsiteX1" fmla="*/ 133166 w 133166"/>
                <a:gd name="connsiteY1" fmla="*/ 1 h 1207364"/>
                <a:gd name="connsiteX2" fmla="*/ 133166 w 133166"/>
                <a:gd name="connsiteY2" fmla="*/ 1207364 h 1207364"/>
                <a:gd name="connsiteX3" fmla="*/ 17757 w 133166"/>
                <a:gd name="connsiteY3" fmla="*/ 408373 h 1207364"/>
                <a:gd name="connsiteX4" fmla="*/ 0 w 133166"/>
                <a:gd name="connsiteY4" fmla="*/ 0 h 1207364"/>
                <a:gd name="connsiteX0" fmla="*/ 0 w 142044"/>
                <a:gd name="connsiteY0" fmla="*/ 0 h 408373"/>
                <a:gd name="connsiteX1" fmla="*/ 133166 w 142044"/>
                <a:gd name="connsiteY1" fmla="*/ 1 h 408373"/>
                <a:gd name="connsiteX2" fmla="*/ 142044 w 142044"/>
                <a:gd name="connsiteY2" fmla="*/ 301842 h 408373"/>
                <a:gd name="connsiteX3" fmla="*/ 17757 w 142044"/>
                <a:gd name="connsiteY3" fmla="*/ 408373 h 408373"/>
                <a:gd name="connsiteX4" fmla="*/ 0 w 142044"/>
                <a:gd name="connsiteY4" fmla="*/ 0 h 408373"/>
                <a:gd name="connsiteX0" fmla="*/ 0 w 133166"/>
                <a:gd name="connsiteY0" fmla="*/ 0 h 408373"/>
                <a:gd name="connsiteX1" fmla="*/ 133166 w 133166"/>
                <a:gd name="connsiteY1" fmla="*/ 1 h 408373"/>
                <a:gd name="connsiteX2" fmla="*/ 118293 w 133166"/>
                <a:gd name="connsiteY2" fmla="*/ 313717 h 408373"/>
                <a:gd name="connsiteX3" fmla="*/ 17757 w 133166"/>
                <a:gd name="connsiteY3" fmla="*/ 408373 h 408373"/>
                <a:gd name="connsiteX4" fmla="*/ 0 w 133166"/>
                <a:gd name="connsiteY4" fmla="*/ 0 h 408373"/>
                <a:gd name="connsiteX0" fmla="*/ 0 w 118293"/>
                <a:gd name="connsiteY0" fmla="*/ 5937 h 414310"/>
                <a:gd name="connsiteX1" fmla="*/ 115353 w 118293"/>
                <a:gd name="connsiteY1" fmla="*/ 0 h 414310"/>
                <a:gd name="connsiteX2" fmla="*/ 118293 w 118293"/>
                <a:gd name="connsiteY2" fmla="*/ 319654 h 414310"/>
                <a:gd name="connsiteX3" fmla="*/ 17757 w 118293"/>
                <a:gd name="connsiteY3" fmla="*/ 414310 h 414310"/>
                <a:gd name="connsiteX4" fmla="*/ 0 w 118293"/>
                <a:gd name="connsiteY4" fmla="*/ 5937 h 414310"/>
                <a:gd name="connsiteX0" fmla="*/ 0 w 118293"/>
                <a:gd name="connsiteY0" fmla="*/ 5937 h 366809"/>
                <a:gd name="connsiteX1" fmla="*/ 115353 w 118293"/>
                <a:gd name="connsiteY1" fmla="*/ 0 h 366809"/>
                <a:gd name="connsiteX2" fmla="*/ 118293 w 118293"/>
                <a:gd name="connsiteY2" fmla="*/ 319654 h 366809"/>
                <a:gd name="connsiteX3" fmla="*/ 5882 w 118293"/>
                <a:gd name="connsiteY3" fmla="*/ 366809 h 366809"/>
                <a:gd name="connsiteX4" fmla="*/ 0 w 118293"/>
                <a:gd name="connsiteY4" fmla="*/ 5937 h 366809"/>
                <a:gd name="connsiteX0" fmla="*/ 0 w 115353"/>
                <a:gd name="connsiteY0" fmla="*/ 5937 h 366809"/>
                <a:gd name="connsiteX1" fmla="*/ 115353 w 115353"/>
                <a:gd name="connsiteY1" fmla="*/ 0 h 366809"/>
                <a:gd name="connsiteX2" fmla="*/ 112356 w 115353"/>
                <a:gd name="connsiteY2" fmla="*/ 278091 h 366809"/>
                <a:gd name="connsiteX3" fmla="*/ 5882 w 115353"/>
                <a:gd name="connsiteY3" fmla="*/ 366809 h 366809"/>
                <a:gd name="connsiteX4" fmla="*/ 0 w 115353"/>
                <a:gd name="connsiteY4" fmla="*/ 5937 h 3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53" h="366809">
                  <a:moveTo>
                    <a:pt x="0" y="5937"/>
                  </a:moveTo>
                  <a:lnTo>
                    <a:pt x="115353" y="0"/>
                  </a:lnTo>
                  <a:lnTo>
                    <a:pt x="112356" y="278091"/>
                  </a:lnTo>
                  <a:lnTo>
                    <a:pt x="5882" y="366809"/>
                  </a:lnTo>
                  <a:cubicBezTo>
                    <a:pt x="3921" y="246518"/>
                    <a:pt x="1961" y="126228"/>
                    <a:pt x="0" y="593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99" name="Rectangle 6">
              <a:extLst>
                <a:ext uri="{FF2B5EF4-FFF2-40B4-BE49-F238E27FC236}">
                  <a16:creationId xmlns:a16="http://schemas.microsoft.com/office/drawing/2014/main" id="{31C82CB4-C8CB-3CDD-73D1-A5160016C099}"/>
                </a:ext>
              </a:extLst>
            </p:cNvPr>
            <p:cNvSpPr/>
            <p:nvPr/>
          </p:nvSpPr>
          <p:spPr>
            <a:xfrm flipH="1">
              <a:off x="1487532" y="2017033"/>
              <a:ext cx="2952328" cy="288033"/>
            </a:xfrm>
            <a:custGeom>
              <a:avLst/>
              <a:gdLst>
                <a:gd name="connsiteX0" fmla="*/ 0 w 5285462"/>
                <a:gd name="connsiteY0" fmla="*/ 0 h 576064"/>
                <a:gd name="connsiteX1" fmla="*/ 4724629 w 5285462"/>
                <a:gd name="connsiteY1" fmla="*/ 0 h 576064"/>
                <a:gd name="connsiteX2" fmla="*/ 5285462 w 5285462"/>
                <a:gd name="connsiteY2" fmla="*/ 576064 h 576064"/>
                <a:gd name="connsiteX3" fmla="*/ 0 w 5285462"/>
                <a:gd name="connsiteY3" fmla="*/ 576064 h 576064"/>
                <a:gd name="connsiteX4" fmla="*/ 0 w 5285462"/>
                <a:gd name="connsiteY4" fmla="*/ 0 h 57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5462" h="576064">
                  <a:moveTo>
                    <a:pt x="0" y="0"/>
                  </a:moveTo>
                  <a:lnTo>
                    <a:pt x="4724629" y="0"/>
                  </a:lnTo>
                  <a:lnTo>
                    <a:pt x="5285462" y="576064"/>
                  </a:lnTo>
                  <a:lnTo>
                    <a:pt x="0" y="5760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00" name="TextBox 25">
            <a:extLst>
              <a:ext uri="{FF2B5EF4-FFF2-40B4-BE49-F238E27FC236}">
                <a16:creationId xmlns:a16="http://schemas.microsoft.com/office/drawing/2014/main" id="{BA811E2C-36BB-FEB0-7B23-EC94A3BDF02B}"/>
              </a:ext>
            </a:extLst>
          </p:cNvPr>
          <p:cNvSpPr txBox="1"/>
          <p:nvPr/>
        </p:nvSpPr>
        <p:spPr>
          <a:xfrm>
            <a:off x="5364548" y="4405933"/>
            <a:ext cx="38268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>
                <a:solidFill>
                  <a:schemeClr val="bg1"/>
                </a:solidFill>
              </a:rPr>
              <a:t>IT Landscape </a:t>
            </a:r>
            <a:r>
              <a:rPr lang="en-US" altLang="ko-KR" sz="1400" b="1" err="1">
                <a:solidFill>
                  <a:schemeClr val="bg1"/>
                </a:solidFill>
              </a:rPr>
              <a:t>Übersicht</a:t>
            </a:r>
            <a:r>
              <a:rPr lang="en-US" altLang="ko-KR" sz="1400" b="1">
                <a:solidFill>
                  <a:schemeClr val="bg1"/>
                </a:solidFill>
              </a:rPr>
              <a:t> &amp; </a:t>
            </a:r>
            <a:r>
              <a:rPr lang="en-US" altLang="ko-KR" sz="1400" b="1" err="1">
                <a:solidFill>
                  <a:schemeClr val="bg1"/>
                </a:solidFill>
              </a:rPr>
              <a:t>Anbindung</a:t>
            </a:r>
            <a:endParaRPr lang="ko-KR" altLang="en-US" sz="1400" b="1">
              <a:solidFill>
                <a:schemeClr val="bg1"/>
              </a:solidFill>
            </a:endParaRPr>
          </a:p>
        </p:txBody>
      </p:sp>
      <p:grpSp>
        <p:nvGrpSpPr>
          <p:cNvPr id="101" name="Group 21">
            <a:extLst>
              <a:ext uri="{FF2B5EF4-FFF2-40B4-BE49-F238E27FC236}">
                <a16:creationId xmlns:a16="http://schemas.microsoft.com/office/drawing/2014/main" id="{3C112622-A92B-A83C-6837-0718E4E5B62D}"/>
              </a:ext>
            </a:extLst>
          </p:cNvPr>
          <p:cNvGrpSpPr/>
          <p:nvPr/>
        </p:nvGrpSpPr>
        <p:grpSpPr>
          <a:xfrm flipH="1">
            <a:off x="4820350" y="5045109"/>
            <a:ext cx="3931226" cy="633640"/>
            <a:chOff x="1487532" y="2017033"/>
            <a:chExt cx="2952328" cy="376914"/>
          </a:xfrm>
          <a:solidFill>
            <a:schemeClr val="accent2">
              <a:lumMod val="75000"/>
            </a:schemeClr>
          </a:solidFill>
        </p:grpSpPr>
        <p:sp>
          <p:nvSpPr>
            <p:cNvPr id="102" name="Rectangle 9">
              <a:extLst>
                <a:ext uri="{FF2B5EF4-FFF2-40B4-BE49-F238E27FC236}">
                  <a16:creationId xmlns:a16="http://schemas.microsoft.com/office/drawing/2014/main" id="{DA52325D-6861-100E-71BE-F47A0907330E}"/>
                </a:ext>
              </a:extLst>
            </p:cNvPr>
            <p:cNvSpPr/>
            <p:nvPr/>
          </p:nvSpPr>
          <p:spPr>
            <a:xfrm>
              <a:off x="4319543" y="2027138"/>
              <a:ext cx="115353" cy="366809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0 w 914400"/>
                <a:gd name="connsiteY0" fmla="*/ 292963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0 w 914400"/>
                <a:gd name="connsiteY4" fmla="*/ 292963 h 1207363"/>
                <a:gd name="connsiteX0" fmla="*/ 612559 w 914400"/>
                <a:gd name="connsiteY0" fmla="*/ 8877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612559 w 914400"/>
                <a:gd name="connsiteY4" fmla="*/ 8877 h 1207363"/>
                <a:gd name="connsiteX0" fmla="*/ 0 w 301841"/>
                <a:gd name="connsiteY0" fmla="*/ 8877 h 1207363"/>
                <a:gd name="connsiteX1" fmla="*/ 301841 w 301841"/>
                <a:gd name="connsiteY1" fmla="*/ 0 h 1207363"/>
                <a:gd name="connsiteX2" fmla="*/ 301841 w 301841"/>
                <a:gd name="connsiteY2" fmla="*/ 1207363 h 1207363"/>
                <a:gd name="connsiteX3" fmla="*/ 186432 w 301841"/>
                <a:gd name="connsiteY3" fmla="*/ 408372 h 1207363"/>
                <a:gd name="connsiteX4" fmla="*/ 0 w 301841"/>
                <a:gd name="connsiteY4" fmla="*/ 8877 h 1207363"/>
                <a:gd name="connsiteX0" fmla="*/ 0 w 133166"/>
                <a:gd name="connsiteY0" fmla="*/ 0 h 1207364"/>
                <a:gd name="connsiteX1" fmla="*/ 133166 w 133166"/>
                <a:gd name="connsiteY1" fmla="*/ 1 h 1207364"/>
                <a:gd name="connsiteX2" fmla="*/ 133166 w 133166"/>
                <a:gd name="connsiteY2" fmla="*/ 1207364 h 1207364"/>
                <a:gd name="connsiteX3" fmla="*/ 17757 w 133166"/>
                <a:gd name="connsiteY3" fmla="*/ 408373 h 1207364"/>
                <a:gd name="connsiteX4" fmla="*/ 0 w 133166"/>
                <a:gd name="connsiteY4" fmla="*/ 0 h 1207364"/>
                <a:gd name="connsiteX0" fmla="*/ 0 w 142044"/>
                <a:gd name="connsiteY0" fmla="*/ 0 h 408373"/>
                <a:gd name="connsiteX1" fmla="*/ 133166 w 142044"/>
                <a:gd name="connsiteY1" fmla="*/ 1 h 408373"/>
                <a:gd name="connsiteX2" fmla="*/ 142044 w 142044"/>
                <a:gd name="connsiteY2" fmla="*/ 301842 h 408373"/>
                <a:gd name="connsiteX3" fmla="*/ 17757 w 142044"/>
                <a:gd name="connsiteY3" fmla="*/ 408373 h 408373"/>
                <a:gd name="connsiteX4" fmla="*/ 0 w 142044"/>
                <a:gd name="connsiteY4" fmla="*/ 0 h 408373"/>
                <a:gd name="connsiteX0" fmla="*/ 0 w 133166"/>
                <a:gd name="connsiteY0" fmla="*/ 0 h 408373"/>
                <a:gd name="connsiteX1" fmla="*/ 133166 w 133166"/>
                <a:gd name="connsiteY1" fmla="*/ 1 h 408373"/>
                <a:gd name="connsiteX2" fmla="*/ 118293 w 133166"/>
                <a:gd name="connsiteY2" fmla="*/ 313717 h 408373"/>
                <a:gd name="connsiteX3" fmla="*/ 17757 w 133166"/>
                <a:gd name="connsiteY3" fmla="*/ 408373 h 408373"/>
                <a:gd name="connsiteX4" fmla="*/ 0 w 133166"/>
                <a:gd name="connsiteY4" fmla="*/ 0 h 408373"/>
                <a:gd name="connsiteX0" fmla="*/ 0 w 118293"/>
                <a:gd name="connsiteY0" fmla="*/ 5937 h 414310"/>
                <a:gd name="connsiteX1" fmla="*/ 115353 w 118293"/>
                <a:gd name="connsiteY1" fmla="*/ 0 h 414310"/>
                <a:gd name="connsiteX2" fmla="*/ 118293 w 118293"/>
                <a:gd name="connsiteY2" fmla="*/ 319654 h 414310"/>
                <a:gd name="connsiteX3" fmla="*/ 17757 w 118293"/>
                <a:gd name="connsiteY3" fmla="*/ 414310 h 414310"/>
                <a:gd name="connsiteX4" fmla="*/ 0 w 118293"/>
                <a:gd name="connsiteY4" fmla="*/ 5937 h 414310"/>
                <a:gd name="connsiteX0" fmla="*/ 0 w 118293"/>
                <a:gd name="connsiteY0" fmla="*/ 5937 h 366809"/>
                <a:gd name="connsiteX1" fmla="*/ 115353 w 118293"/>
                <a:gd name="connsiteY1" fmla="*/ 0 h 366809"/>
                <a:gd name="connsiteX2" fmla="*/ 118293 w 118293"/>
                <a:gd name="connsiteY2" fmla="*/ 319654 h 366809"/>
                <a:gd name="connsiteX3" fmla="*/ 5882 w 118293"/>
                <a:gd name="connsiteY3" fmla="*/ 366809 h 366809"/>
                <a:gd name="connsiteX4" fmla="*/ 0 w 118293"/>
                <a:gd name="connsiteY4" fmla="*/ 5937 h 366809"/>
                <a:gd name="connsiteX0" fmla="*/ 0 w 115353"/>
                <a:gd name="connsiteY0" fmla="*/ 5937 h 366809"/>
                <a:gd name="connsiteX1" fmla="*/ 115353 w 115353"/>
                <a:gd name="connsiteY1" fmla="*/ 0 h 366809"/>
                <a:gd name="connsiteX2" fmla="*/ 112356 w 115353"/>
                <a:gd name="connsiteY2" fmla="*/ 278091 h 366809"/>
                <a:gd name="connsiteX3" fmla="*/ 5882 w 115353"/>
                <a:gd name="connsiteY3" fmla="*/ 366809 h 366809"/>
                <a:gd name="connsiteX4" fmla="*/ 0 w 115353"/>
                <a:gd name="connsiteY4" fmla="*/ 5937 h 3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53" h="366809">
                  <a:moveTo>
                    <a:pt x="0" y="5937"/>
                  </a:moveTo>
                  <a:lnTo>
                    <a:pt x="115353" y="0"/>
                  </a:lnTo>
                  <a:lnTo>
                    <a:pt x="112356" y="278091"/>
                  </a:lnTo>
                  <a:lnTo>
                    <a:pt x="5882" y="366809"/>
                  </a:lnTo>
                  <a:cubicBezTo>
                    <a:pt x="3921" y="246518"/>
                    <a:pt x="1961" y="126228"/>
                    <a:pt x="0" y="593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03" name="Rectangle 6">
              <a:extLst>
                <a:ext uri="{FF2B5EF4-FFF2-40B4-BE49-F238E27FC236}">
                  <a16:creationId xmlns:a16="http://schemas.microsoft.com/office/drawing/2014/main" id="{CCFF9DA1-CB2F-9614-7E04-FBE08784A1B8}"/>
                </a:ext>
              </a:extLst>
            </p:cNvPr>
            <p:cNvSpPr/>
            <p:nvPr/>
          </p:nvSpPr>
          <p:spPr>
            <a:xfrm flipH="1">
              <a:off x="1487532" y="2017033"/>
              <a:ext cx="2952328" cy="288033"/>
            </a:xfrm>
            <a:custGeom>
              <a:avLst/>
              <a:gdLst>
                <a:gd name="connsiteX0" fmla="*/ 0 w 5285462"/>
                <a:gd name="connsiteY0" fmla="*/ 0 h 576064"/>
                <a:gd name="connsiteX1" fmla="*/ 4724629 w 5285462"/>
                <a:gd name="connsiteY1" fmla="*/ 0 h 576064"/>
                <a:gd name="connsiteX2" fmla="*/ 5285462 w 5285462"/>
                <a:gd name="connsiteY2" fmla="*/ 576064 h 576064"/>
                <a:gd name="connsiteX3" fmla="*/ 0 w 5285462"/>
                <a:gd name="connsiteY3" fmla="*/ 576064 h 576064"/>
                <a:gd name="connsiteX4" fmla="*/ 0 w 5285462"/>
                <a:gd name="connsiteY4" fmla="*/ 0 h 57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5462" h="576064">
                  <a:moveTo>
                    <a:pt x="0" y="0"/>
                  </a:moveTo>
                  <a:lnTo>
                    <a:pt x="4724629" y="0"/>
                  </a:lnTo>
                  <a:lnTo>
                    <a:pt x="5285462" y="576064"/>
                  </a:lnTo>
                  <a:lnTo>
                    <a:pt x="0" y="5760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04" name="TextBox 25">
            <a:extLst>
              <a:ext uri="{FF2B5EF4-FFF2-40B4-BE49-F238E27FC236}">
                <a16:creationId xmlns:a16="http://schemas.microsoft.com/office/drawing/2014/main" id="{CCC9DB90-8475-AA20-FEFE-FA89FEE9B849}"/>
              </a:ext>
            </a:extLst>
          </p:cNvPr>
          <p:cNvSpPr txBox="1"/>
          <p:nvPr/>
        </p:nvSpPr>
        <p:spPr>
          <a:xfrm>
            <a:off x="5500699" y="5035573"/>
            <a:ext cx="24961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>
                <a:solidFill>
                  <a:schemeClr val="bg1"/>
                </a:solidFill>
              </a:rPr>
              <a:t>Open Source Mindset </a:t>
            </a:r>
            <a:r>
              <a:rPr lang="en-US" altLang="ko-KR" sz="1400" b="1" err="1">
                <a:solidFill>
                  <a:schemeClr val="bg1"/>
                </a:solidFill>
              </a:rPr>
              <a:t>Modulentwicklung</a:t>
            </a:r>
            <a:endParaRPr lang="ko-KR" altLang="en-US" sz="1400" b="1">
              <a:solidFill>
                <a:schemeClr val="bg1"/>
              </a:solidFill>
            </a:endParaRPr>
          </a:p>
        </p:txBody>
      </p:sp>
      <p:sp>
        <p:nvSpPr>
          <p:cNvPr id="105" name="Rectangle 15">
            <a:extLst>
              <a:ext uri="{FF2B5EF4-FFF2-40B4-BE49-F238E27FC236}">
                <a16:creationId xmlns:a16="http://schemas.microsoft.com/office/drawing/2014/main" id="{06FBBC90-3653-7603-9943-025C073BC944}"/>
              </a:ext>
            </a:extLst>
          </p:cNvPr>
          <p:cNvSpPr/>
          <p:nvPr/>
        </p:nvSpPr>
        <p:spPr>
          <a:xfrm>
            <a:off x="9263420" y="2782315"/>
            <a:ext cx="398870" cy="33478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6" name="Oval 16">
            <a:extLst>
              <a:ext uri="{FF2B5EF4-FFF2-40B4-BE49-F238E27FC236}">
                <a16:creationId xmlns:a16="http://schemas.microsoft.com/office/drawing/2014/main" id="{0811E9F4-9EC5-C2FB-5D26-04BC99F44720}"/>
              </a:ext>
            </a:extLst>
          </p:cNvPr>
          <p:cNvSpPr/>
          <p:nvPr/>
        </p:nvSpPr>
        <p:spPr>
          <a:xfrm>
            <a:off x="8922230" y="1695167"/>
            <a:ext cx="1093897" cy="1093897"/>
          </a:xfrm>
          <a:prstGeom prst="ellipse">
            <a:avLst/>
          </a:prstGeom>
          <a:noFill/>
          <a:ln w="1270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pSp>
        <p:nvGrpSpPr>
          <p:cNvPr id="107" name="Group 17">
            <a:extLst>
              <a:ext uri="{FF2B5EF4-FFF2-40B4-BE49-F238E27FC236}">
                <a16:creationId xmlns:a16="http://schemas.microsoft.com/office/drawing/2014/main" id="{C21BBE94-19FC-664D-C19D-6EFFA1B5A911}"/>
              </a:ext>
            </a:extLst>
          </p:cNvPr>
          <p:cNvGrpSpPr/>
          <p:nvPr/>
        </p:nvGrpSpPr>
        <p:grpSpPr>
          <a:xfrm flipH="1">
            <a:off x="9113919" y="3026664"/>
            <a:ext cx="2954424" cy="633640"/>
            <a:chOff x="1487532" y="2017033"/>
            <a:chExt cx="2952328" cy="376914"/>
          </a:xfrm>
        </p:grpSpPr>
        <p:sp>
          <p:nvSpPr>
            <p:cNvPr id="108" name="Rectangle 9">
              <a:extLst>
                <a:ext uri="{FF2B5EF4-FFF2-40B4-BE49-F238E27FC236}">
                  <a16:creationId xmlns:a16="http://schemas.microsoft.com/office/drawing/2014/main" id="{EAD5DE8D-500A-A405-E5B4-97CFB1C7E97F}"/>
                </a:ext>
              </a:extLst>
            </p:cNvPr>
            <p:cNvSpPr/>
            <p:nvPr/>
          </p:nvSpPr>
          <p:spPr>
            <a:xfrm>
              <a:off x="4319543" y="2027138"/>
              <a:ext cx="115353" cy="366809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0 w 914400"/>
                <a:gd name="connsiteY0" fmla="*/ 292963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0 w 914400"/>
                <a:gd name="connsiteY4" fmla="*/ 292963 h 1207363"/>
                <a:gd name="connsiteX0" fmla="*/ 612559 w 914400"/>
                <a:gd name="connsiteY0" fmla="*/ 8877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612559 w 914400"/>
                <a:gd name="connsiteY4" fmla="*/ 8877 h 1207363"/>
                <a:gd name="connsiteX0" fmla="*/ 0 w 301841"/>
                <a:gd name="connsiteY0" fmla="*/ 8877 h 1207363"/>
                <a:gd name="connsiteX1" fmla="*/ 301841 w 301841"/>
                <a:gd name="connsiteY1" fmla="*/ 0 h 1207363"/>
                <a:gd name="connsiteX2" fmla="*/ 301841 w 301841"/>
                <a:gd name="connsiteY2" fmla="*/ 1207363 h 1207363"/>
                <a:gd name="connsiteX3" fmla="*/ 186432 w 301841"/>
                <a:gd name="connsiteY3" fmla="*/ 408372 h 1207363"/>
                <a:gd name="connsiteX4" fmla="*/ 0 w 301841"/>
                <a:gd name="connsiteY4" fmla="*/ 8877 h 1207363"/>
                <a:gd name="connsiteX0" fmla="*/ 0 w 133166"/>
                <a:gd name="connsiteY0" fmla="*/ 0 h 1207364"/>
                <a:gd name="connsiteX1" fmla="*/ 133166 w 133166"/>
                <a:gd name="connsiteY1" fmla="*/ 1 h 1207364"/>
                <a:gd name="connsiteX2" fmla="*/ 133166 w 133166"/>
                <a:gd name="connsiteY2" fmla="*/ 1207364 h 1207364"/>
                <a:gd name="connsiteX3" fmla="*/ 17757 w 133166"/>
                <a:gd name="connsiteY3" fmla="*/ 408373 h 1207364"/>
                <a:gd name="connsiteX4" fmla="*/ 0 w 133166"/>
                <a:gd name="connsiteY4" fmla="*/ 0 h 1207364"/>
                <a:gd name="connsiteX0" fmla="*/ 0 w 142044"/>
                <a:gd name="connsiteY0" fmla="*/ 0 h 408373"/>
                <a:gd name="connsiteX1" fmla="*/ 133166 w 142044"/>
                <a:gd name="connsiteY1" fmla="*/ 1 h 408373"/>
                <a:gd name="connsiteX2" fmla="*/ 142044 w 142044"/>
                <a:gd name="connsiteY2" fmla="*/ 301842 h 408373"/>
                <a:gd name="connsiteX3" fmla="*/ 17757 w 142044"/>
                <a:gd name="connsiteY3" fmla="*/ 408373 h 408373"/>
                <a:gd name="connsiteX4" fmla="*/ 0 w 142044"/>
                <a:gd name="connsiteY4" fmla="*/ 0 h 408373"/>
                <a:gd name="connsiteX0" fmla="*/ 0 w 133166"/>
                <a:gd name="connsiteY0" fmla="*/ 0 h 408373"/>
                <a:gd name="connsiteX1" fmla="*/ 133166 w 133166"/>
                <a:gd name="connsiteY1" fmla="*/ 1 h 408373"/>
                <a:gd name="connsiteX2" fmla="*/ 118293 w 133166"/>
                <a:gd name="connsiteY2" fmla="*/ 313717 h 408373"/>
                <a:gd name="connsiteX3" fmla="*/ 17757 w 133166"/>
                <a:gd name="connsiteY3" fmla="*/ 408373 h 408373"/>
                <a:gd name="connsiteX4" fmla="*/ 0 w 133166"/>
                <a:gd name="connsiteY4" fmla="*/ 0 h 408373"/>
                <a:gd name="connsiteX0" fmla="*/ 0 w 118293"/>
                <a:gd name="connsiteY0" fmla="*/ 5937 h 414310"/>
                <a:gd name="connsiteX1" fmla="*/ 115353 w 118293"/>
                <a:gd name="connsiteY1" fmla="*/ 0 h 414310"/>
                <a:gd name="connsiteX2" fmla="*/ 118293 w 118293"/>
                <a:gd name="connsiteY2" fmla="*/ 319654 h 414310"/>
                <a:gd name="connsiteX3" fmla="*/ 17757 w 118293"/>
                <a:gd name="connsiteY3" fmla="*/ 414310 h 414310"/>
                <a:gd name="connsiteX4" fmla="*/ 0 w 118293"/>
                <a:gd name="connsiteY4" fmla="*/ 5937 h 414310"/>
                <a:gd name="connsiteX0" fmla="*/ 0 w 118293"/>
                <a:gd name="connsiteY0" fmla="*/ 5937 h 366809"/>
                <a:gd name="connsiteX1" fmla="*/ 115353 w 118293"/>
                <a:gd name="connsiteY1" fmla="*/ 0 h 366809"/>
                <a:gd name="connsiteX2" fmla="*/ 118293 w 118293"/>
                <a:gd name="connsiteY2" fmla="*/ 319654 h 366809"/>
                <a:gd name="connsiteX3" fmla="*/ 5882 w 118293"/>
                <a:gd name="connsiteY3" fmla="*/ 366809 h 366809"/>
                <a:gd name="connsiteX4" fmla="*/ 0 w 118293"/>
                <a:gd name="connsiteY4" fmla="*/ 5937 h 366809"/>
                <a:gd name="connsiteX0" fmla="*/ 0 w 115353"/>
                <a:gd name="connsiteY0" fmla="*/ 5937 h 366809"/>
                <a:gd name="connsiteX1" fmla="*/ 115353 w 115353"/>
                <a:gd name="connsiteY1" fmla="*/ 0 h 366809"/>
                <a:gd name="connsiteX2" fmla="*/ 112356 w 115353"/>
                <a:gd name="connsiteY2" fmla="*/ 278091 h 366809"/>
                <a:gd name="connsiteX3" fmla="*/ 5882 w 115353"/>
                <a:gd name="connsiteY3" fmla="*/ 366809 h 366809"/>
                <a:gd name="connsiteX4" fmla="*/ 0 w 115353"/>
                <a:gd name="connsiteY4" fmla="*/ 5937 h 3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53" h="366809">
                  <a:moveTo>
                    <a:pt x="0" y="5937"/>
                  </a:moveTo>
                  <a:lnTo>
                    <a:pt x="115353" y="0"/>
                  </a:lnTo>
                  <a:lnTo>
                    <a:pt x="112356" y="278091"/>
                  </a:lnTo>
                  <a:lnTo>
                    <a:pt x="5882" y="366809"/>
                  </a:lnTo>
                  <a:cubicBezTo>
                    <a:pt x="3921" y="246518"/>
                    <a:pt x="1961" y="126228"/>
                    <a:pt x="0" y="5937"/>
                  </a:cubicBez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09" name="Rectangle 6">
              <a:extLst>
                <a:ext uri="{FF2B5EF4-FFF2-40B4-BE49-F238E27FC236}">
                  <a16:creationId xmlns:a16="http://schemas.microsoft.com/office/drawing/2014/main" id="{6009C6DC-5188-C204-2C1D-4EAF05B28203}"/>
                </a:ext>
              </a:extLst>
            </p:cNvPr>
            <p:cNvSpPr/>
            <p:nvPr/>
          </p:nvSpPr>
          <p:spPr>
            <a:xfrm flipH="1">
              <a:off x="1487532" y="2017033"/>
              <a:ext cx="2952328" cy="288033"/>
            </a:xfrm>
            <a:custGeom>
              <a:avLst/>
              <a:gdLst>
                <a:gd name="connsiteX0" fmla="*/ 0 w 5285462"/>
                <a:gd name="connsiteY0" fmla="*/ 0 h 576064"/>
                <a:gd name="connsiteX1" fmla="*/ 4724629 w 5285462"/>
                <a:gd name="connsiteY1" fmla="*/ 0 h 576064"/>
                <a:gd name="connsiteX2" fmla="*/ 5285462 w 5285462"/>
                <a:gd name="connsiteY2" fmla="*/ 576064 h 576064"/>
                <a:gd name="connsiteX3" fmla="*/ 0 w 5285462"/>
                <a:gd name="connsiteY3" fmla="*/ 576064 h 576064"/>
                <a:gd name="connsiteX4" fmla="*/ 0 w 5285462"/>
                <a:gd name="connsiteY4" fmla="*/ 0 h 57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5462" h="576064">
                  <a:moveTo>
                    <a:pt x="0" y="0"/>
                  </a:moveTo>
                  <a:lnTo>
                    <a:pt x="4724629" y="0"/>
                  </a:lnTo>
                  <a:lnTo>
                    <a:pt x="5285462" y="576064"/>
                  </a:lnTo>
                  <a:lnTo>
                    <a:pt x="0" y="576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sp>
        <p:nvSpPr>
          <p:cNvPr id="110" name="TextBox 21">
            <a:extLst>
              <a:ext uri="{FF2B5EF4-FFF2-40B4-BE49-F238E27FC236}">
                <a16:creationId xmlns:a16="http://schemas.microsoft.com/office/drawing/2014/main" id="{E5EBD8C7-0CC7-04E3-2073-5A8C4BE737B5}"/>
              </a:ext>
            </a:extLst>
          </p:cNvPr>
          <p:cNvSpPr txBox="1"/>
          <p:nvPr/>
        </p:nvSpPr>
        <p:spPr>
          <a:xfrm>
            <a:off x="9799142" y="3105371"/>
            <a:ext cx="29544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b="1" err="1">
                <a:solidFill>
                  <a:schemeClr val="bg1"/>
                </a:solidFill>
              </a:rPr>
              <a:t>Verlässliche</a:t>
            </a:r>
            <a:r>
              <a:rPr lang="en-US" altLang="ko-KR" sz="1400" b="1">
                <a:solidFill>
                  <a:schemeClr val="bg1"/>
                </a:solidFill>
              </a:rPr>
              <a:t> Roadmap</a:t>
            </a:r>
            <a:endParaRPr lang="ko-KR" altLang="en-US" sz="1400" b="1">
              <a:solidFill>
                <a:schemeClr val="bg1"/>
              </a:solidFill>
            </a:endParaRPr>
          </a:p>
        </p:txBody>
      </p:sp>
      <p:sp>
        <p:nvSpPr>
          <p:cNvPr id="115" name="TextBox 13">
            <a:extLst>
              <a:ext uri="{FF2B5EF4-FFF2-40B4-BE49-F238E27FC236}">
                <a16:creationId xmlns:a16="http://schemas.microsoft.com/office/drawing/2014/main" id="{0B0132DD-E22C-16E2-87BD-9253B4A5B5B1}"/>
              </a:ext>
            </a:extLst>
          </p:cNvPr>
          <p:cNvSpPr txBox="1"/>
          <p:nvPr/>
        </p:nvSpPr>
        <p:spPr>
          <a:xfrm>
            <a:off x="10128448" y="2002945"/>
            <a:ext cx="3349577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rtl="0">
              <a:spcAft>
                <a:spcPts val="0"/>
              </a:spcAft>
            </a:pPr>
            <a:r>
              <a:rPr lang="de-DE" sz="1600" b="1">
                <a:solidFill>
                  <a:schemeClr val="bg2"/>
                </a:solidFill>
                <a:latin typeface="+mj-lt"/>
              </a:rPr>
              <a:t>Externe </a:t>
            </a:r>
            <a:br>
              <a:rPr lang="de-DE" sz="1600" b="1">
                <a:solidFill>
                  <a:schemeClr val="bg2"/>
                </a:solidFill>
                <a:latin typeface="+mj-lt"/>
              </a:rPr>
            </a:br>
            <a:r>
              <a:rPr lang="de-DE" sz="1600" b="1">
                <a:solidFill>
                  <a:schemeClr val="bg2"/>
                </a:solidFill>
                <a:latin typeface="+mj-lt"/>
              </a:rPr>
              <a:t>Herausforderungen</a:t>
            </a:r>
          </a:p>
        </p:txBody>
      </p:sp>
      <p:sp>
        <p:nvSpPr>
          <p:cNvPr id="116" name="Textplatzhalter 17">
            <a:extLst>
              <a:ext uri="{FF2B5EF4-FFF2-40B4-BE49-F238E27FC236}">
                <a16:creationId xmlns:a16="http://schemas.microsoft.com/office/drawing/2014/main" id="{74F6EAE9-B7E9-D3D3-FA7C-CEF1A0ADE3DE}"/>
              </a:ext>
            </a:extLst>
          </p:cNvPr>
          <p:cNvSpPr txBox="1">
            <a:spLocks/>
          </p:cNvSpPr>
          <p:nvPr/>
        </p:nvSpPr>
        <p:spPr bwMode="gray">
          <a:xfrm>
            <a:off x="8860297" y="2002945"/>
            <a:ext cx="1205115" cy="44184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sz="1600" b="0" cap="none" baseline="0" smtClean="0">
                <a:ea typeface="+mj-ea"/>
                <a:cs typeface="Segoe UI Light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de-DE" b="0" cap="none" baseline="0" smtClean="0"/>
            </a:lvl2pPr>
            <a:lvl3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lang="de-DE" b="0" smtClean="0"/>
            </a:lvl3pPr>
            <a:lvl4pPr marL="432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de-DE" b="0" smtClean="0"/>
            </a:lvl4pPr>
            <a:lvl5pPr marL="648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en-GB" b="0"/>
            </a:lvl5pPr>
            <a:lvl6pPr marL="864000" marR="0" indent="-2160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6pPr>
            <a:lvl7pPr marL="864000" marR="0" indent="-21600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7pPr>
            <a:lvl8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8pPr>
            <a:lvl9pPr marL="864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b="0">
                <a:solidFill>
                  <a:schemeClr val="bg2"/>
                </a:solidFill>
                <a:cs typeface="Segoe UI Semilight" panose="020B0402040204020203" pitchFamily="34" charset="0"/>
              </a:defRPr>
            </a:lvl9pPr>
          </a:lstStyle>
          <a:p>
            <a:pPr rtl="0">
              <a:spcAft>
                <a:spcPts val="0"/>
              </a:spcAft>
            </a:pPr>
            <a:r>
              <a:rPr lang="de-DE" sz="2800" b="1">
                <a:solidFill>
                  <a:schemeClr val="bg2"/>
                </a:solidFill>
                <a:latin typeface="+mj-lt"/>
              </a:rPr>
              <a:t>03</a:t>
            </a:r>
            <a:endParaRPr lang="de-DE" sz="1100" b="1">
              <a:solidFill>
                <a:schemeClr val="bg2"/>
              </a:solidFill>
              <a:latin typeface="+mj-lt"/>
            </a:endParaRPr>
          </a:p>
        </p:txBody>
      </p:sp>
      <p:grpSp>
        <p:nvGrpSpPr>
          <p:cNvPr id="125" name="Group 17">
            <a:extLst>
              <a:ext uri="{FF2B5EF4-FFF2-40B4-BE49-F238E27FC236}">
                <a16:creationId xmlns:a16="http://schemas.microsoft.com/office/drawing/2014/main" id="{BF201EAA-268B-5C39-EE07-F4816313763D}"/>
              </a:ext>
            </a:extLst>
          </p:cNvPr>
          <p:cNvGrpSpPr/>
          <p:nvPr/>
        </p:nvGrpSpPr>
        <p:grpSpPr>
          <a:xfrm flipH="1">
            <a:off x="9113919" y="3695877"/>
            <a:ext cx="2954424" cy="633640"/>
            <a:chOff x="1487532" y="2017033"/>
            <a:chExt cx="2952328" cy="376914"/>
          </a:xfrm>
        </p:grpSpPr>
        <p:sp>
          <p:nvSpPr>
            <p:cNvPr id="126" name="Rectangle 9">
              <a:extLst>
                <a:ext uri="{FF2B5EF4-FFF2-40B4-BE49-F238E27FC236}">
                  <a16:creationId xmlns:a16="http://schemas.microsoft.com/office/drawing/2014/main" id="{E118661E-4F9D-C3F8-2A8A-E5949CE0E4A2}"/>
                </a:ext>
              </a:extLst>
            </p:cNvPr>
            <p:cNvSpPr/>
            <p:nvPr/>
          </p:nvSpPr>
          <p:spPr>
            <a:xfrm>
              <a:off x="4319543" y="2027138"/>
              <a:ext cx="115353" cy="366809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0 w 914400"/>
                <a:gd name="connsiteY0" fmla="*/ 292963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0 w 914400"/>
                <a:gd name="connsiteY4" fmla="*/ 292963 h 1207363"/>
                <a:gd name="connsiteX0" fmla="*/ 612559 w 914400"/>
                <a:gd name="connsiteY0" fmla="*/ 8877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612559 w 914400"/>
                <a:gd name="connsiteY4" fmla="*/ 8877 h 1207363"/>
                <a:gd name="connsiteX0" fmla="*/ 0 w 301841"/>
                <a:gd name="connsiteY0" fmla="*/ 8877 h 1207363"/>
                <a:gd name="connsiteX1" fmla="*/ 301841 w 301841"/>
                <a:gd name="connsiteY1" fmla="*/ 0 h 1207363"/>
                <a:gd name="connsiteX2" fmla="*/ 301841 w 301841"/>
                <a:gd name="connsiteY2" fmla="*/ 1207363 h 1207363"/>
                <a:gd name="connsiteX3" fmla="*/ 186432 w 301841"/>
                <a:gd name="connsiteY3" fmla="*/ 408372 h 1207363"/>
                <a:gd name="connsiteX4" fmla="*/ 0 w 301841"/>
                <a:gd name="connsiteY4" fmla="*/ 8877 h 1207363"/>
                <a:gd name="connsiteX0" fmla="*/ 0 w 133166"/>
                <a:gd name="connsiteY0" fmla="*/ 0 h 1207364"/>
                <a:gd name="connsiteX1" fmla="*/ 133166 w 133166"/>
                <a:gd name="connsiteY1" fmla="*/ 1 h 1207364"/>
                <a:gd name="connsiteX2" fmla="*/ 133166 w 133166"/>
                <a:gd name="connsiteY2" fmla="*/ 1207364 h 1207364"/>
                <a:gd name="connsiteX3" fmla="*/ 17757 w 133166"/>
                <a:gd name="connsiteY3" fmla="*/ 408373 h 1207364"/>
                <a:gd name="connsiteX4" fmla="*/ 0 w 133166"/>
                <a:gd name="connsiteY4" fmla="*/ 0 h 1207364"/>
                <a:gd name="connsiteX0" fmla="*/ 0 w 142044"/>
                <a:gd name="connsiteY0" fmla="*/ 0 h 408373"/>
                <a:gd name="connsiteX1" fmla="*/ 133166 w 142044"/>
                <a:gd name="connsiteY1" fmla="*/ 1 h 408373"/>
                <a:gd name="connsiteX2" fmla="*/ 142044 w 142044"/>
                <a:gd name="connsiteY2" fmla="*/ 301842 h 408373"/>
                <a:gd name="connsiteX3" fmla="*/ 17757 w 142044"/>
                <a:gd name="connsiteY3" fmla="*/ 408373 h 408373"/>
                <a:gd name="connsiteX4" fmla="*/ 0 w 142044"/>
                <a:gd name="connsiteY4" fmla="*/ 0 h 408373"/>
                <a:gd name="connsiteX0" fmla="*/ 0 w 133166"/>
                <a:gd name="connsiteY0" fmla="*/ 0 h 408373"/>
                <a:gd name="connsiteX1" fmla="*/ 133166 w 133166"/>
                <a:gd name="connsiteY1" fmla="*/ 1 h 408373"/>
                <a:gd name="connsiteX2" fmla="*/ 118293 w 133166"/>
                <a:gd name="connsiteY2" fmla="*/ 313717 h 408373"/>
                <a:gd name="connsiteX3" fmla="*/ 17757 w 133166"/>
                <a:gd name="connsiteY3" fmla="*/ 408373 h 408373"/>
                <a:gd name="connsiteX4" fmla="*/ 0 w 133166"/>
                <a:gd name="connsiteY4" fmla="*/ 0 h 408373"/>
                <a:gd name="connsiteX0" fmla="*/ 0 w 118293"/>
                <a:gd name="connsiteY0" fmla="*/ 5937 h 414310"/>
                <a:gd name="connsiteX1" fmla="*/ 115353 w 118293"/>
                <a:gd name="connsiteY1" fmla="*/ 0 h 414310"/>
                <a:gd name="connsiteX2" fmla="*/ 118293 w 118293"/>
                <a:gd name="connsiteY2" fmla="*/ 319654 h 414310"/>
                <a:gd name="connsiteX3" fmla="*/ 17757 w 118293"/>
                <a:gd name="connsiteY3" fmla="*/ 414310 h 414310"/>
                <a:gd name="connsiteX4" fmla="*/ 0 w 118293"/>
                <a:gd name="connsiteY4" fmla="*/ 5937 h 414310"/>
                <a:gd name="connsiteX0" fmla="*/ 0 w 118293"/>
                <a:gd name="connsiteY0" fmla="*/ 5937 h 366809"/>
                <a:gd name="connsiteX1" fmla="*/ 115353 w 118293"/>
                <a:gd name="connsiteY1" fmla="*/ 0 h 366809"/>
                <a:gd name="connsiteX2" fmla="*/ 118293 w 118293"/>
                <a:gd name="connsiteY2" fmla="*/ 319654 h 366809"/>
                <a:gd name="connsiteX3" fmla="*/ 5882 w 118293"/>
                <a:gd name="connsiteY3" fmla="*/ 366809 h 366809"/>
                <a:gd name="connsiteX4" fmla="*/ 0 w 118293"/>
                <a:gd name="connsiteY4" fmla="*/ 5937 h 366809"/>
                <a:gd name="connsiteX0" fmla="*/ 0 w 115353"/>
                <a:gd name="connsiteY0" fmla="*/ 5937 h 366809"/>
                <a:gd name="connsiteX1" fmla="*/ 115353 w 115353"/>
                <a:gd name="connsiteY1" fmla="*/ 0 h 366809"/>
                <a:gd name="connsiteX2" fmla="*/ 112356 w 115353"/>
                <a:gd name="connsiteY2" fmla="*/ 278091 h 366809"/>
                <a:gd name="connsiteX3" fmla="*/ 5882 w 115353"/>
                <a:gd name="connsiteY3" fmla="*/ 366809 h 366809"/>
                <a:gd name="connsiteX4" fmla="*/ 0 w 115353"/>
                <a:gd name="connsiteY4" fmla="*/ 5937 h 3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53" h="366809">
                  <a:moveTo>
                    <a:pt x="0" y="5937"/>
                  </a:moveTo>
                  <a:lnTo>
                    <a:pt x="115353" y="0"/>
                  </a:lnTo>
                  <a:lnTo>
                    <a:pt x="112356" y="278091"/>
                  </a:lnTo>
                  <a:lnTo>
                    <a:pt x="5882" y="366809"/>
                  </a:lnTo>
                  <a:cubicBezTo>
                    <a:pt x="3921" y="246518"/>
                    <a:pt x="1961" y="126228"/>
                    <a:pt x="0" y="5937"/>
                  </a:cubicBez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27" name="Rectangle 6">
              <a:extLst>
                <a:ext uri="{FF2B5EF4-FFF2-40B4-BE49-F238E27FC236}">
                  <a16:creationId xmlns:a16="http://schemas.microsoft.com/office/drawing/2014/main" id="{10D240D7-F6AB-DB18-9B05-D0C73732196B}"/>
                </a:ext>
              </a:extLst>
            </p:cNvPr>
            <p:cNvSpPr/>
            <p:nvPr/>
          </p:nvSpPr>
          <p:spPr>
            <a:xfrm flipH="1">
              <a:off x="1487532" y="2017033"/>
              <a:ext cx="2952328" cy="288033"/>
            </a:xfrm>
            <a:custGeom>
              <a:avLst/>
              <a:gdLst>
                <a:gd name="connsiteX0" fmla="*/ 0 w 5285462"/>
                <a:gd name="connsiteY0" fmla="*/ 0 h 576064"/>
                <a:gd name="connsiteX1" fmla="*/ 4724629 w 5285462"/>
                <a:gd name="connsiteY1" fmla="*/ 0 h 576064"/>
                <a:gd name="connsiteX2" fmla="*/ 5285462 w 5285462"/>
                <a:gd name="connsiteY2" fmla="*/ 576064 h 576064"/>
                <a:gd name="connsiteX3" fmla="*/ 0 w 5285462"/>
                <a:gd name="connsiteY3" fmla="*/ 576064 h 576064"/>
                <a:gd name="connsiteX4" fmla="*/ 0 w 5285462"/>
                <a:gd name="connsiteY4" fmla="*/ 0 h 57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5462" h="576064">
                  <a:moveTo>
                    <a:pt x="0" y="0"/>
                  </a:moveTo>
                  <a:lnTo>
                    <a:pt x="4724629" y="0"/>
                  </a:lnTo>
                  <a:lnTo>
                    <a:pt x="5285462" y="576064"/>
                  </a:lnTo>
                  <a:lnTo>
                    <a:pt x="0" y="576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ko-KR" sz="1400" b="1">
                  <a:solidFill>
                    <a:schemeClr val="bg1"/>
                  </a:solidFill>
                </a:rPr>
                <a:t>Usergruppen</a:t>
              </a:r>
              <a:endParaRPr lang="ko-KR" altLang="en-US" sz="14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oup 17">
            <a:extLst>
              <a:ext uri="{FF2B5EF4-FFF2-40B4-BE49-F238E27FC236}">
                <a16:creationId xmlns:a16="http://schemas.microsoft.com/office/drawing/2014/main" id="{69FD0B16-7AD5-FC93-84FE-10A1B07EAE54}"/>
              </a:ext>
            </a:extLst>
          </p:cNvPr>
          <p:cNvGrpSpPr/>
          <p:nvPr/>
        </p:nvGrpSpPr>
        <p:grpSpPr>
          <a:xfrm flipH="1">
            <a:off x="9118887" y="4392225"/>
            <a:ext cx="2954424" cy="633638"/>
            <a:chOff x="1487532" y="2017034"/>
            <a:chExt cx="2952328" cy="376913"/>
          </a:xfrm>
        </p:grpSpPr>
        <p:sp>
          <p:nvSpPr>
            <p:cNvPr id="16" name="Rectangle 9">
              <a:extLst>
                <a:ext uri="{FF2B5EF4-FFF2-40B4-BE49-F238E27FC236}">
                  <a16:creationId xmlns:a16="http://schemas.microsoft.com/office/drawing/2014/main" id="{6A90B0A6-C919-B472-3CA7-4D444CCBA9D1}"/>
                </a:ext>
              </a:extLst>
            </p:cNvPr>
            <p:cNvSpPr/>
            <p:nvPr/>
          </p:nvSpPr>
          <p:spPr>
            <a:xfrm>
              <a:off x="4319543" y="2027138"/>
              <a:ext cx="115353" cy="366809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0 w 914400"/>
                <a:gd name="connsiteY0" fmla="*/ 292963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0 w 914400"/>
                <a:gd name="connsiteY4" fmla="*/ 292963 h 1207363"/>
                <a:gd name="connsiteX0" fmla="*/ 612559 w 914400"/>
                <a:gd name="connsiteY0" fmla="*/ 8877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612559 w 914400"/>
                <a:gd name="connsiteY4" fmla="*/ 8877 h 1207363"/>
                <a:gd name="connsiteX0" fmla="*/ 0 w 301841"/>
                <a:gd name="connsiteY0" fmla="*/ 8877 h 1207363"/>
                <a:gd name="connsiteX1" fmla="*/ 301841 w 301841"/>
                <a:gd name="connsiteY1" fmla="*/ 0 h 1207363"/>
                <a:gd name="connsiteX2" fmla="*/ 301841 w 301841"/>
                <a:gd name="connsiteY2" fmla="*/ 1207363 h 1207363"/>
                <a:gd name="connsiteX3" fmla="*/ 186432 w 301841"/>
                <a:gd name="connsiteY3" fmla="*/ 408372 h 1207363"/>
                <a:gd name="connsiteX4" fmla="*/ 0 w 301841"/>
                <a:gd name="connsiteY4" fmla="*/ 8877 h 1207363"/>
                <a:gd name="connsiteX0" fmla="*/ 0 w 133166"/>
                <a:gd name="connsiteY0" fmla="*/ 0 h 1207364"/>
                <a:gd name="connsiteX1" fmla="*/ 133166 w 133166"/>
                <a:gd name="connsiteY1" fmla="*/ 1 h 1207364"/>
                <a:gd name="connsiteX2" fmla="*/ 133166 w 133166"/>
                <a:gd name="connsiteY2" fmla="*/ 1207364 h 1207364"/>
                <a:gd name="connsiteX3" fmla="*/ 17757 w 133166"/>
                <a:gd name="connsiteY3" fmla="*/ 408373 h 1207364"/>
                <a:gd name="connsiteX4" fmla="*/ 0 w 133166"/>
                <a:gd name="connsiteY4" fmla="*/ 0 h 1207364"/>
                <a:gd name="connsiteX0" fmla="*/ 0 w 142044"/>
                <a:gd name="connsiteY0" fmla="*/ 0 h 408373"/>
                <a:gd name="connsiteX1" fmla="*/ 133166 w 142044"/>
                <a:gd name="connsiteY1" fmla="*/ 1 h 408373"/>
                <a:gd name="connsiteX2" fmla="*/ 142044 w 142044"/>
                <a:gd name="connsiteY2" fmla="*/ 301842 h 408373"/>
                <a:gd name="connsiteX3" fmla="*/ 17757 w 142044"/>
                <a:gd name="connsiteY3" fmla="*/ 408373 h 408373"/>
                <a:gd name="connsiteX4" fmla="*/ 0 w 142044"/>
                <a:gd name="connsiteY4" fmla="*/ 0 h 408373"/>
                <a:gd name="connsiteX0" fmla="*/ 0 w 133166"/>
                <a:gd name="connsiteY0" fmla="*/ 0 h 408373"/>
                <a:gd name="connsiteX1" fmla="*/ 133166 w 133166"/>
                <a:gd name="connsiteY1" fmla="*/ 1 h 408373"/>
                <a:gd name="connsiteX2" fmla="*/ 118293 w 133166"/>
                <a:gd name="connsiteY2" fmla="*/ 313717 h 408373"/>
                <a:gd name="connsiteX3" fmla="*/ 17757 w 133166"/>
                <a:gd name="connsiteY3" fmla="*/ 408373 h 408373"/>
                <a:gd name="connsiteX4" fmla="*/ 0 w 133166"/>
                <a:gd name="connsiteY4" fmla="*/ 0 h 408373"/>
                <a:gd name="connsiteX0" fmla="*/ 0 w 118293"/>
                <a:gd name="connsiteY0" fmla="*/ 5937 h 414310"/>
                <a:gd name="connsiteX1" fmla="*/ 115353 w 118293"/>
                <a:gd name="connsiteY1" fmla="*/ 0 h 414310"/>
                <a:gd name="connsiteX2" fmla="*/ 118293 w 118293"/>
                <a:gd name="connsiteY2" fmla="*/ 319654 h 414310"/>
                <a:gd name="connsiteX3" fmla="*/ 17757 w 118293"/>
                <a:gd name="connsiteY3" fmla="*/ 414310 h 414310"/>
                <a:gd name="connsiteX4" fmla="*/ 0 w 118293"/>
                <a:gd name="connsiteY4" fmla="*/ 5937 h 414310"/>
                <a:gd name="connsiteX0" fmla="*/ 0 w 118293"/>
                <a:gd name="connsiteY0" fmla="*/ 5937 h 366809"/>
                <a:gd name="connsiteX1" fmla="*/ 115353 w 118293"/>
                <a:gd name="connsiteY1" fmla="*/ 0 h 366809"/>
                <a:gd name="connsiteX2" fmla="*/ 118293 w 118293"/>
                <a:gd name="connsiteY2" fmla="*/ 319654 h 366809"/>
                <a:gd name="connsiteX3" fmla="*/ 5882 w 118293"/>
                <a:gd name="connsiteY3" fmla="*/ 366809 h 366809"/>
                <a:gd name="connsiteX4" fmla="*/ 0 w 118293"/>
                <a:gd name="connsiteY4" fmla="*/ 5937 h 366809"/>
                <a:gd name="connsiteX0" fmla="*/ 0 w 115353"/>
                <a:gd name="connsiteY0" fmla="*/ 5937 h 366809"/>
                <a:gd name="connsiteX1" fmla="*/ 115353 w 115353"/>
                <a:gd name="connsiteY1" fmla="*/ 0 h 366809"/>
                <a:gd name="connsiteX2" fmla="*/ 112356 w 115353"/>
                <a:gd name="connsiteY2" fmla="*/ 278091 h 366809"/>
                <a:gd name="connsiteX3" fmla="*/ 5882 w 115353"/>
                <a:gd name="connsiteY3" fmla="*/ 366809 h 366809"/>
                <a:gd name="connsiteX4" fmla="*/ 0 w 115353"/>
                <a:gd name="connsiteY4" fmla="*/ 5937 h 3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53" h="366809">
                  <a:moveTo>
                    <a:pt x="0" y="5937"/>
                  </a:moveTo>
                  <a:lnTo>
                    <a:pt x="115353" y="0"/>
                  </a:lnTo>
                  <a:lnTo>
                    <a:pt x="112356" y="278091"/>
                  </a:lnTo>
                  <a:lnTo>
                    <a:pt x="5882" y="366809"/>
                  </a:lnTo>
                  <a:cubicBezTo>
                    <a:pt x="3921" y="246518"/>
                    <a:pt x="1961" y="126228"/>
                    <a:pt x="0" y="5937"/>
                  </a:cubicBez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17" name="Rectangle 6">
              <a:extLst>
                <a:ext uri="{FF2B5EF4-FFF2-40B4-BE49-F238E27FC236}">
                  <a16:creationId xmlns:a16="http://schemas.microsoft.com/office/drawing/2014/main" id="{070EB31F-1585-E007-C298-B1C1A272F9A2}"/>
                </a:ext>
              </a:extLst>
            </p:cNvPr>
            <p:cNvSpPr/>
            <p:nvPr/>
          </p:nvSpPr>
          <p:spPr>
            <a:xfrm flipH="1">
              <a:off x="1487532" y="2017034"/>
              <a:ext cx="2952328" cy="288033"/>
            </a:xfrm>
            <a:custGeom>
              <a:avLst/>
              <a:gdLst>
                <a:gd name="connsiteX0" fmla="*/ 0 w 5285462"/>
                <a:gd name="connsiteY0" fmla="*/ 0 h 576064"/>
                <a:gd name="connsiteX1" fmla="*/ 4724629 w 5285462"/>
                <a:gd name="connsiteY1" fmla="*/ 0 h 576064"/>
                <a:gd name="connsiteX2" fmla="*/ 5285462 w 5285462"/>
                <a:gd name="connsiteY2" fmla="*/ 576064 h 576064"/>
                <a:gd name="connsiteX3" fmla="*/ 0 w 5285462"/>
                <a:gd name="connsiteY3" fmla="*/ 576064 h 576064"/>
                <a:gd name="connsiteX4" fmla="*/ 0 w 5285462"/>
                <a:gd name="connsiteY4" fmla="*/ 0 h 57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5462" h="576064">
                  <a:moveTo>
                    <a:pt x="0" y="0"/>
                  </a:moveTo>
                  <a:lnTo>
                    <a:pt x="4724629" y="0"/>
                  </a:lnTo>
                  <a:lnTo>
                    <a:pt x="5285462" y="576064"/>
                  </a:lnTo>
                  <a:lnTo>
                    <a:pt x="0" y="576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ko-KR" sz="1400" b="1">
                  <a:solidFill>
                    <a:schemeClr val="bg1"/>
                  </a:solidFill>
                </a:rPr>
                <a:t>Langfristige Verträge</a:t>
              </a:r>
              <a:endParaRPr lang="ko-KR" altLang="en-US" sz="14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72F132-024C-4B53-8F63-4AA3B16075F6}"/>
              </a:ext>
            </a:extLst>
          </p:cNvPr>
          <p:cNvGrpSpPr/>
          <p:nvPr/>
        </p:nvGrpSpPr>
        <p:grpSpPr>
          <a:xfrm flipH="1">
            <a:off x="9113919" y="5064915"/>
            <a:ext cx="2954424" cy="633638"/>
            <a:chOff x="1487532" y="2017034"/>
            <a:chExt cx="2952328" cy="376913"/>
          </a:xfrm>
        </p:grpSpPr>
        <p:sp>
          <p:nvSpPr>
            <p:cNvPr id="19" name="Rectangle 9">
              <a:extLst>
                <a:ext uri="{FF2B5EF4-FFF2-40B4-BE49-F238E27FC236}">
                  <a16:creationId xmlns:a16="http://schemas.microsoft.com/office/drawing/2014/main" id="{58F6FCE7-5B34-1EC4-4A70-08B5B2ACEA0B}"/>
                </a:ext>
              </a:extLst>
            </p:cNvPr>
            <p:cNvSpPr/>
            <p:nvPr/>
          </p:nvSpPr>
          <p:spPr>
            <a:xfrm>
              <a:off x="4319543" y="2027138"/>
              <a:ext cx="115353" cy="366809"/>
            </a:xfrm>
            <a:custGeom>
              <a:avLst/>
              <a:gdLst>
                <a:gd name="connsiteX0" fmla="*/ 0 w 914400"/>
                <a:gd name="connsiteY0" fmla="*/ 0 h 914400"/>
                <a:gd name="connsiteX1" fmla="*/ 914400 w 914400"/>
                <a:gd name="connsiteY1" fmla="*/ 0 h 914400"/>
                <a:gd name="connsiteX2" fmla="*/ 914400 w 914400"/>
                <a:gd name="connsiteY2" fmla="*/ 914400 h 914400"/>
                <a:gd name="connsiteX3" fmla="*/ 0 w 914400"/>
                <a:gd name="connsiteY3" fmla="*/ 914400 h 914400"/>
                <a:gd name="connsiteX4" fmla="*/ 0 w 914400"/>
                <a:gd name="connsiteY4" fmla="*/ 0 h 914400"/>
                <a:gd name="connsiteX0" fmla="*/ 0 w 914400"/>
                <a:gd name="connsiteY0" fmla="*/ 292963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0 w 914400"/>
                <a:gd name="connsiteY4" fmla="*/ 292963 h 1207363"/>
                <a:gd name="connsiteX0" fmla="*/ 612559 w 914400"/>
                <a:gd name="connsiteY0" fmla="*/ 8877 h 1207363"/>
                <a:gd name="connsiteX1" fmla="*/ 914400 w 914400"/>
                <a:gd name="connsiteY1" fmla="*/ 0 h 1207363"/>
                <a:gd name="connsiteX2" fmla="*/ 914400 w 914400"/>
                <a:gd name="connsiteY2" fmla="*/ 1207363 h 1207363"/>
                <a:gd name="connsiteX3" fmla="*/ 0 w 914400"/>
                <a:gd name="connsiteY3" fmla="*/ 1207363 h 1207363"/>
                <a:gd name="connsiteX4" fmla="*/ 612559 w 914400"/>
                <a:gd name="connsiteY4" fmla="*/ 8877 h 1207363"/>
                <a:gd name="connsiteX0" fmla="*/ 0 w 301841"/>
                <a:gd name="connsiteY0" fmla="*/ 8877 h 1207363"/>
                <a:gd name="connsiteX1" fmla="*/ 301841 w 301841"/>
                <a:gd name="connsiteY1" fmla="*/ 0 h 1207363"/>
                <a:gd name="connsiteX2" fmla="*/ 301841 w 301841"/>
                <a:gd name="connsiteY2" fmla="*/ 1207363 h 1207363"/>
                <a:gd name="connsiteX3" fmla="*/ 186432 w 301841"/>
                <a:gd name="connsiteY3" fmla="*/ 408372 h 1207363"/>
                <a:gd name="connsiteX4" fmla="*/ 0 w 301841"/>
                <a:gd name="connsiteY4" fmla="*/ 8877 h 1207363"/>
                <a:gd name="connsiteX0" fmla="*/ 0 w 133166"/>
                <a:gd name="connsiteY0" fmla="*/ 0 h 1207364"/>
                <a:gd name="connsiteX1" fmla="*/ 133166 w 133166"/>
                <a:gd name="connsiteY1" fmla="*/ 1 h 1207364"/>
                <a:gd name="connsiteX2" fmla="*/ 133166 w 133166"/>
                <a:gd name="connsiteY2" fmla="*/ 1207364 h 1207364"/>
                <a:gd name="connsiteX3" fmla="*/ 17757 w 133166"/>
                <a:gd name="connsiteY3" fmla="*/ 408373 h 1207364"/>
                <a:gd name="connsiteX4" fmla="*/ 0 w 133166"/>
                <a:gd name="connsiteY4" fmla="*/ 0 h 1207364"/>
                <a:gd name="connsiteX0" fmla="*/ 0 w 142044"/>
                <a:gd name="connsiteY0" fmla="*/ 0 h 408373"/>
                <a:gd name="connsiteX1" fmla="*/ 133166 w 142044"/>
                <a:gd name="connsiteY1" fmla="*/ 1 h 408373"/>
                <a:gd name="connsiteX2" fmla="*/ 142044 w 142044"/>
                <a:gd name="connsiteY2" fmla="*/ 301842 h 408373"/>
                <a:gd name="connsiteX3" fmla="*/ 17757 w 142044"/>
                <a:gd name="connsiteY3" fmla="*/ 408373 h 408373"/>
                <a:gd name="connsiteX4" fmla="*/ 0 w 142044"/>
                <a:gd name="connsiteY4" fmla="*/ 0 h 408373"/>
                <a:gd name="connsiteX0" fmla="*/ 0 w 133166"/>
                <a:gd name="connsiteY0" fmla="*/ 0 h 408373"/>
                <a:gd name="connsiteX1" fmla="*/ 133166 w 133166"/>
                <a:gd name="connsiteY1" fmla="*/ 1 h 408373"/>
                <a:gd name="connsiteX2" fmla="*/ 118293 w 133166"/>
                <a:gd name="connsiteY2" fmla="*/ 313717 h 408373"/>
                <a:gd name="connsiteX3" fmla="*/ 17757 w 133166"/>
                <a:gd name="connsiteY3" fmla="*/ 408373 h 408373"/>
                <a:gd name="connsiteX4" fmla="*/ 0 w 133166"/>
                <a:gd name="connsiteY4" fmla="*/ 0 h 408373"/>
                <a:gd name="connsiteX0" fmla="*/ 0 w 118293"/>
                <a:gd name="connsiteY0" fmla="*/ 5937 h 414310"/>
                <a:gd name="connsiteX1" fmla="*/ 115353 w 118293"/>
                <a:gd name="connsiteY1" fmla="*/ 0 h 414310"/>
                <a:gd name="connsiteX2" fmla="*/ 118293 w 118293"/>
                <a:gd name="connsiteY2" fmla="*/ 319654 h 414310"/>
                <a:gd name="connsiteX3" fmla="*/ 17757 w 118293"/>
                <a:gd name="connsiteY3" fmla="*/ 414310 h 414310"/>
                <a:gd name="connsiteX4" fmla="*/ 0 w 118293"/>
                <a:gd name="connsiteY4" fmla="*/ 5937 h 414310"/>
                <a:gd name="connsiteX0" fmla="*/ 0 w 118293"/>
                <a:gd name="connsiteY0" fmla="*/ 5937 h 366809"/>
                <a:gd name="connsiteX1" fmla="*/ 115353 w 118293"/>
                <a:gd name="connsiteY1" fmla="*/ 0 h 366809"/>
                <a:gd name="connsiteX2" fmla="*/ 118293 w 118293"/>
                <a:gd name="connsiteY2" fmla="*/ 319654 h 366809"/>
                <a:gd name="connsiteX3" fmla="*/ 5882 w 118293"/>
                <a:gd name="connsiteY3" fmla="*/ 366809 h 366809"/>
                <a:gd name="connsiteX4" fmla="*/ 0 w 118293"/>
                <a:gd name="connsiteY4" fmla="*/ 5937 h 366809"/>
                <a:gd name="connsiteX0" fmla="*/ 0 w 115353"/>
                <a:gd name="connsiteY0" fmla="*/ 5937 h 366809"/>
                <a:gd name="connsiteX1" fmla="*/ 115353 w 115353"/>
                <a:gd name="connsiteY1" fmla="*/ 0 h 366809"/>
                <a:gd name="connsiteX2" fmla="*/ 112356 w 115353"/>
                <a:gd name="connsiteY2" fmla="*/ 278091 h 366809"/>
                <a:gd name="connsiteX3" fmla="*/ 5882 w 115353"/>
                <a:gd name="connsiteY3" fmla="*/ 366809 h 366809"/>
                <a:gd name="connsiteX4" fmla="*/ 0 w 115353"/>
                <a:gd name="connsiteY4" fmla="*/ 5937 h 366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353" h="366809">
                  <a:moveTo>
                    <a:pt x="0" y="5937"/>
                  </a:moveTo>
                  <a:lnTo>
                    <a:pt x="115353" y="0"/>
                  </a:lnTo>
                  <a:lnTo>
                    <a:pt x="112356" y="278091"/>
                  </a:lnTo>
                  <a:lnTo>
                    <a:pt x="5882" y="366809"/>
                  </a:lnTo>
                  <a:cubicBezTo>
                    <a:pt x="3921" y="246518"/>
                    <a:pt x="1961" y="126228"/>
                    <a:pt x="0" y="5937"/>
                  </a:cubicBez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20" name="Rectangle 6">
              <a:extLst>
                <a:ext uri="{FF2B5EF4-FFF2-40B4-BE49-F238E27FC236}">
                  <a16:creationId xmlns:a16="http://schemas.microsoft.com/office/drawing/2014/main" id="{85A279DF-3BF8-447D-56E1-0B940E284E75}"/>
                </a:ext>
              </a:extLst>
            </p:cNvPr>
            <p:cNvSpPr/>
            <p:nvPr/>
          </p:nvSpPr>
          <p:spPr>
            <a:xfrm flipH="1">
              <a:off x="1487532" y="2017034"/>
              <a:ext cx="2952328" cy="288033"/>
            </a:xfrm>
            <a:custGeom>
              <a:avLst/>
              <a:gdLst>
                <a:gd name="connsiteX0" fmla="*/ 0 w 5285462"/>
                <a:gd name="connsiteY0" fmla="*/ 0 h 576064"/>
                <a:gd name="connsiteX1" fmla="*/ 4724629 w 5285462"/>
                <a:gd name="connsiteY1" fmla="*/ 0 h 576064"/>
                <a:gd name="connsiteX2" fmla="*/ 5285462 w 5285462"/>
                <a:gd name="connsiteY2" fmla="*/ 576064 h 576064"/>
                <a:gd name="connsiteX3" fmla="*/ 0 w 5285462"/>
                <a:gd name="connsiteY3" fmla="*/ 576064 h 576064"/>
                <a:gd name="connsiteX4" fmla="*/ 0 w 5285462"/>
                <a:gd name="connsiteY4" fmla="*/ 0 h 57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5462" h="576064">
                  <a:moveTo>
                    <a:pt x="0" y="0"/>
                  </a:moveTo>
                  <a:lnTo>
                    <a:pt x="4724629" y="0"/>
                  </a:lnTo>
                  <a:lnTo>
                    <a:pt x="5285462" y="576064"/>
                  </a:lnTo>
                  <a:lnTo>
                    <a:pt x="0" y="576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altLang="ko-KR" sz="1400" b="1">
                  <a:solidFill>
                    <a:schemeClr val="bg1"/>
                  </a:solidFill>
                </a:rPr>
                <a:t>Große Hersteller / Open Source</a:t>
              </a:r>
              <a:endParaRPr lang="ko-KR" altLang="en-US" sz="1400" b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93689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2CBFE6AC-7D05-C487-DD6B-C01291789034}"/>
              </a:ext>
            </a:extLst>
          </p:cNvPr>
          <p:cNvPicPr>
            <a:picLocks noChangeArrowheads="1"/>
          </p:cNvPicPr>
          <p:nvPr/>
        </p:nvPicPr>
        <p:blipFill rotWithShape="1">
          <a:blip r:embed="rId3"/>
          <a:srcRect l="21079" r="21079"/>
          <a:stretch/>
        </p:blipFill>
        <p:spPr bwMode="auto">
          <a:xfrm>
            <a:off x="0" y="-4400"/>
            <a:ext cx="5951538" cy="686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el 2">
            <a:extLst>
              <a:ext uri="{FF2B5EF4-FFF2-40B4-BE49-F238E27FC236}">
                <a16:creationId xmlns:a16="http://schemas.microsoft.com/office/drawing/2014/main" id="{8CAB3FB6-40D8-445D-A116-5E2F94929F87}"/>
              </a:ext>
            </a:extLst>
          </p:cNvPr>
          <p:cNvSpPr txBox="1">
            <a:spLocks/>
          </p:cNvSpPr>
          <p:nvPr/>
        </p:nvSpPr>
        <p:spPr bwMode="gray">
          <a:xfrm>
            <a:off x="6096505" y="2042863"/>
            <a:ext cx="2312145" cy="136655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22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0">
              <a:lnSpc>
                <a:spcPct val="110000"/>
              </a:lnSpc>
            </a:pPr>
            <a:r>
              <a:rPr lang="de-DE" sz="1400" cap="none" noProof="0" dirty="0">
                <a:solidFill>
                  <a:schemeClr val="tx1"/>
                </a:solidFill>
              </a:rPr>
              <a:t>Strategische Integration im Unternehmen</a:t>
            </a:r>
          </a:p>
          <a:p>
            <a:pPr algn="r" rtl="0">
              <a:lnSpc>
                <a:spcPct val="110000"/>
              </a:lnSpc>
            </a:pPr>
            <a:r>
              <a:rPr lang="de-DE" sz="1400" b="0" cap="none" noProof="0" dirty="0">
                <a:solidFill>
                  <a:schemeClr val="bg2"/>
                </a:solidFill>
                <a:latin typeface="+mn-lt"/>
              </a:rPr>
              <a:t>Höhere Akzeptanz, gezieltere Einführung und Durchdringung</a:t>
            </a:r>
          </a:p>
          <a:p>
            <a:pPr algn="r" rtl="0">
              <a:lnSpc>
                <a:spcPct val="110000"/>
              </a:lnSpc>
            </a:pPr>
            <a:r>
              <a:rPr lang="de-DE" sz="1400" b="0" cap="none" noProof="0" dirty="0">
                <a:solidFill>
                  <a:schemeClr val="bg2"/>
                </a:solidFill>
                <a:latin typeface="+mn-lt"/>
              </a:rPr>
              <a:t>Ressourcen schonend</a:t>
            </a:r>
          </a:p>
        </p:txBody>
      </p:sp>
      <p:sp>
        <p:nvSpPr>
          <p:cNvPr id="17" name="Titel 2">
            <a:extLst>
              <a:ext uri="{FF2B5EF4-FFF2-40B4-BE49-F238E27FC236}">
                <a16:creationId xmlns:a16="http://schemas.microsoft.com/office/drawing/2014/main" id="{1D636D62-0330-40D1-B9EC-6324688F9EA9}"/>
              </a:ext>
            </a:extLst>
          </p:cNvPr>
          <p:cNvSpPr txBox="1">
            <a:spLocks/>
          </p:cNvSpPr>
          <p:nvPr/>
        </p:nvSpPr>
        <p:spPr bwMode="gray">
          <a:xfrm>
            <a:off x="9039894" y="3355433"/>
            <a:ext cx="2384153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22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>
              <a:lnSpc>
                <a:spcPct val="110000"/>
              </a:lnSpc>
            </a:pPr>
            <a:r>
              <a:rPr lang="de-DE" sz="1400" cap="none">
                <a:solidFill>
                  <a:schemeClr val="tx1"/>
                </a:solidFill>
                <a:ea typeface="Yu Gothic"/>
                <a:cs typeface="Segoe UI Light" panose="020B0502040204020203" pitchFamily="34" charset="0"/>
              </a:rPr>
              <a:t>Community</a:t>
            </a:r>
          </a:p>
          <a:p>
            <a:pPr rtl="0">
              <a:lnSpc>
                <a:spcPct val="110000"/>
              </a:lnSpc>
            </a:pPr>
            <a:r>
              <a:rPr lang="de-DE" sz="1400" b="0" cap="none">
                <a:solidFill>
                  <a:schemeClr val="bg2"/>
                </a:solidFill>
                <a:latin typeface="+mn-lt"/>
              </a:rPr>
              <a:t>Wichtiger Faktor bei Einführung und im Betrieb</a:t>
            </a:r>
          </a:p>
        </p:txBody>
      </p:sp>
      <p:sp>
        <p:nvSpPr>
          <p:cNvPr id="18" name="Titel 2">
            <a:extLst>
              <a:ext uri="{FF2B5EF4-FFF2-40B4-BE49-F238E27FC236}">
                <a16:creationId xmlns:a16="http://schemas.microsoft.com/office/drawing/2014/main" id="{13BFE6C6-9FC4-4640-9E59-3A97B5CB88AF}"/>
              </a:ext>
            </a:extLst>
          </p:cNvPr>
          <p:cNvSpPr txBox="1">
            <a:spLocks/>
          </p:cNvSpPr>
          <p:nvPr/>
        </p:nvSpPr>
        <p:spPr bwMode="gray">
          <a:xfrm>
            <a:off x="9039350" y="4941127"/>
            <a:ext cx="2384697" cy="120537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22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>
              <a:lnSpc>
                <a:spcPct val="110000"/>
              </a:lnSpc>
            </a:pPr>
            <a:r>
              <a:rPr lang="de-DE" sz="1400" cap="none" dirty="0">
                <a:solidFill>
                  <a:schemeClr val="tx1"/>
                </a:solidFill>
              </a:rPr>
              <a:t>Tool für Alle</a:t>
            </a:r>
            <a:br>
              <a:rPr dirty="0"/>
            </a:br>
            <a:r>
              <a:rPr lang="de-DE" sz="1400" b="0" cap="none" dirty="0">
                <a:solidFill>
                  <a:schemeClr val="bg2"/>
                </a:solidFill>
                <a:latin typeface="+mn-lt"/>
              </a:rPr>
              <a:t>Nicht nur ein </a:t>
            </a:r>
            <a:r>
              <a:rPr lang="de-DE" sz="1400" b="0" cap="none" dirty="0" err="1">
                <a:solidFill>
                  <a:schemeClr val="bg2"/>
                </a:solidFill>
                <a:latin typeface="+mn-lt"/>
              </a:rPr>
              <a:t>DevOps</a:t>
            </a:r>
            <a:r>
              <a:rPr lang="de-DE" sz="1400" b="0" cap="none" dirty="0">
                <a:solidFill>
                  <a:schemeClr val="bg2"/>
                </a:solidFill>
                <a:latin typeface="+mn-lt"/>
              </a:rPr>
              <a:t> Tool sondern ein großer Schritt in Automatisierung und Standardisierung</a:t>
            </a:r>
          </a:p>
        </p:txBody>
      </p:sp>
      <p:sp>
        <p:nvSpPr>
          <p:cNvPr id="4" name="Titel 2">
            <a:extLst>
              <a:ext uri="{FF2B5EF4-FFF2-40B4-BE49-F238E27FC236}">
                <a16:creationId xmlns:a16="http://schemas.microsoft.com/office/drawing/2014/main" id="{138D3D29-1298-4FF3-B7F3-D08826CF0F8E}"/>
              </a:ext>
            </a:extLst>
          </p:cNvPr>
          <p:cNvSpPr txBox="1">
            <a:spLocks/>
          </p:cNvSpPr>
          <p:nvPr/>
        </p:nvSpPr>
        <p:spPr bwMode="gray">
          <a:xfrm>
            <a:off x="6245736" y="4045912"/>
            <a:ext cx="2062504" cy="107011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22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0">
              <a:lnSpc>
                <a:spcPct val="110000"/>
              </a:lnSpc>
            </a:pPr>
            <a:r>
              <a:rPr lang="de-DE" sz="1400" cap="none" dirty="0">
                <a:solidFill>
                  <a:schemeClr val="tx1"/>
                </a:solidFill>
                <a:ea typeface="Yu Gothic"/>
                <a:cs typeface="Segoe UI Light" panose="020B0502040204020203" pitchFamily="34" charset="0"/>
              </a:rPr>
              <a:t>Kultur</a:t>
            </a:r>
          </a:p>
          <a:p>
            <a:pPr algn="r" rtl="0">
              <a:lnSpc>
                <a:spcPct val="110000"/>
              </a:lnSpc>
            </a:pPr>
            <a:r>
              <a:rPr lang="de-DE" sz="1400" b="0" cap="none" dirty="0">
                <a:solidFill>
                  <a:schemeClr val="bg2"/>
                </a:solidFill>
                <a:latin typeface="+mn-lt"/>
              </a:rPr>
              <a:t>In der Infrastruktur ein nicht zu unterschätzender Faktor</a:t>
            </a:r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B56AA2CC-6D7B-A695-C3E3-CAEE841B359A}"/>
              </a:ext>
            </a:extLst>
          </p:cNvPr>
          <p:cNvSpPr txBox="1">
            <a:spLocks/>
          </p:cNvSpPr>
          <p:nvPr/>
        </p:nvSpPr>
        <p:spPr>
          <a:xfrm>
            <a:off x="5205835" y="925940"/>
            <a:ext cx="7668119" cy="1800200"/>
          </a:xfrm>
          <a:prstGeom prst="rect">
            <a:avLst/>
          </a:prstGeom>
        </p:spPr>
        <p:txBody>
          <a:bodyPr lIns="0" tIns="0" rIns="0" bIns="0" rtlCol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tx1"/>
                </a:solidFill>
                <a:latin typeface="+mj-lt"/>
                <a:ea typeface="+mj-ea"/>
                <a:cs typeface="Segoe UI Light" panose="020B0502040204020203" pitchFamily="34" charset="0"/>
              </a:defRPr>
            </a:lvl1pPr>
          </a:lstStyle>
          <a:p>
            <a:pPr algn="ctr" rtl="0">
              <a:lnSpc>
                <a:spcPct val="90000"/>
              </a:lnSpc>
            </a:pPr>
            <a:r>
              <a:rPr lang="de-DE" sz="4400"/>
              <a:t>Zusammenfassung</a:t>
            </a:r>
            <a:endParaRPr lang="de-DE" sz="4400" b="0">
              <a:latin typeface="+mn-lt"/>
            </a:endParaRPr>
          </a:p>
        </p:txBody>
      </p:sp>
      <p:sp>
        <p:nvSpPr>
          <p:cNvPr id="14" name="Kreis: nicht ausgefüllt 13">
            <a:extLst>
              <a:ext uri="{FF2B5EF4-FFF2-40B4-BE49-F238E27FC236}">
                <a16:creationId xmlns:a16="http://schemas.microsoft.com/office/drawing/2014/main" id="{526F1C8F-D475-9481-82B9-BC359E1DCE83}"/>
              </a:ext>
            </a:extLst>
          </p:cNvPr>
          <p:cNvSpPr/>
          <p:nvPr/>
        </p:nvSpPr>
        <p:spPr bwMode="gray">
          <a:xfrm>
            <a:off x="8541782" y="4045912"/>
            <a:ext cx="360000" cy="360000"/>
          </a:xfrm>
          <a:prstGeom prst="donu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>
              <a:spcAft>
                <a:spcPts val="600"/>
              </a:spcAft>
            </a:pPr>
            <a:endParaRPr lang="de-DE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Kreis: nicht ausgefüllt 14">
            <a:extLst>
              <a:ext uri="{FF2B5EF4-FFF2-40B4-BE49-F238E27FC236}">
                <a16:creationId xmlns:a16="http://schemas.microsoft.com/office/drawing/2014/main" id="{71676F73-5757-B092-4BF9-FCACFA5914DE}"/>
              </a:ext>
            </a:extLst>
          </p:cNvPr>
          <p:cNvSpPr/>
          <p:nvPr/>
        </p:nvSpPr>
        <p:spPr bwMode="gray">
          <a:xfrm>
            <a:off x="8567578" y="1873653"/>
            <a:ext cx="360000" cy="338420"/>
          </a:xfrm>
          <a:prstGeom prst="donu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>
              <a:spcAft>
                <a:spcPts val="600"/>
              </a:spcAft>
            </a:pPr>
            <a:endParaRPr lang="de-DE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Kreis: nicht ausgefüllt 18">
            <a:extLst>
              <a:ext uri="{FF2B5EF4-FFF2-40B4-BE49-F238E27FC236}">
                <a16:creationId xmlns:a16="http://schemas.microsoft.com/office/drawing/2014/main" id="{E8B6890A-7A21-3FC8-5487-B09242655205}"/>
              </a:ext>
            </a:extLst>
          </p:cNvPr>
          <p:cNvSpPr/>
          <p:nvPr/>
        </p:nvSpPr>
        <p:spPr bwMode="gray">
          <a:xfrm>
            <a:off x="8544272" y="3140968"/>
            <a:ext cx="360000" cy="360000"/>
          </a:xfrm>
          <a:prstGeom prst="donu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>
              <a:spcAft>
                <a:spcPts val="600"/>
              </a:spcAft>
            </a:pPr>
            <a:endParaRPr lang="de-DE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Kreis: nicht ausgefüllt 19">
            <a:extLst>
              <a:ext uri="{FF2B5EF4-FFF2-40B4-BE49-F238E27FC236}">
                <a16:creationId xmlns:a16="http://schemas.microsoft.com/office/drawing/2014/main" id="{21BE7F2F-C31A-BBB5-3791-99F1D8B87F34}"/>
              </a:ext>
            </a:extLst>
          </p:cNvPr>
          <p:cNvSpPr/>
          <p:nvPr/>
        </p:nvSpPr>
        <p:spPr bwMode="gray">
          <a:xfrm>
            <a:off x="8540639" y="4905927"/>
            <a:ext cx="360000" cy="360000"/>
          </a:xfrm>
          <a:prstGeom prst="donu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>
              <a:spcAft>
                <a:spcPts val="600"/>
              </a:spcAft>
            </a:pPr>
            <a:endParaRPr lang="de-DE" sz="160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AF404B63-E712-FE9E-65E7-FCBA8ECD3DE7}"/>
              </a:ext>
            </a:extLst>
          </p:cNvPr>
          <p:cNvCxnSpPr>
            <a:cxnSpLocks/>
            <a:stCxn id="20" idx="4"/>
          </p:cNvCxnSpPr>
          <p:nvPr/>
        </p:nvCxnSpPr>
        <p:spPr bwMode="gray">
          <a:xfrm>
            <a:off x="8720639" y="5265927"/>
            <a:ext cx="3633" cy="1575556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04D75561-E709-C0C4-E7CF-BB1FEAC0594D}"/>
              </a:ext>
            </a:extLst>
          </p:cNvPr>
          <p:cNvCxnSpPr>
            <a:cxnSpLocks/>
            <a:stCxn id="15" idx="4"/>
            <a:endCxn id="19" idx="0"/>
          </p:cNvCxnSpPr>
          <p:nvPr/>
        </p:nvCxnSpPr>
        <p:spPr bwMode="gray">
          <a:xfrm flipH="1">
            <a:off x="8724272" y="2212073"/>
            <a:ext cx="23306" cy="928895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DF2473F-05CE-85F9-161E-552B818F1CEE}"/>
              </a:ext>
            </a:extLst>
          </p:cNvPr>
          <p:cNvCxnSpPr>
            <a:cxnSpLocks/>
            <a:endCxn id="14" idx="0"/>
          </p:cNvCxnSpPr>
          <p:nvPr/>
        </p:nvCxnSpPr>
        <p:spPr bwMode="gray">
          <a:xfrm flipH="1">
            <a:off x="8721782" y="3508927"/>
            <a:ext cx="2490" cy="536985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C9FB1DA3-799E-03A6-49D0-E762EBD0342C}"/>
              </a:ext>
            </a:extLst>
          </p:cNvPr>
          <p:cNvCxnSpPr>
            <a:cxnSpLocks/>
            <a:stCxn id="14" idx="4"/>
            <a:endCxn id="20" idx="0"/>
          </p:cNvCxnSpPr>
          <p:nvPr/>
        </p:nvCxnSpPr>
        <p:spPr bwMode="gray">
          <a:xfrm flipH="1">
            <a:off x="8720639" y="4405912"/>
            <a:ext cx="1143" cy="500015"/>
          </a:xfrm>
          <a:prstGeom prst="line">
            <a:avLst/>
          </a:prstGeom>
          <a:ln w="1270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300FA07-36FF-39F2-6F85-94784C599C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50D9BD-87B7-EAF3-5869-D38D0F73A0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4629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9689AD-DC46-D6BD-AA83-F5535C4BC5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Person, Himmel, draußen, Menschliches Gesicht enthält.&#10;&#10;Automatisch generierte Beschreibung">
            <a:extLst>
              <a:ext uri="{FF2B5EF4-FFF2-40B4-BE49-F238E27FC236}">
                <a16:creationId xmlns:a16="http://schemas.microsoft.com/office/drawing/2014/main" id="{5F605B9D-6EBC-769F-8C9D-676692905CD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201"/>
            <a:ext cx="12192359" cy="6857799"/>
          </a:xfrm>
          <a:prstGeom prst="rect">
            <a:avLst/>
          </a:prstGeom>
        </p:spPr>
      </p:pic>
      <p:pic>
        <p:nvPicPr>
          <p:cNvPr id="19" name="Bildplatzhalter 18" descr="Ein Bild, das Person, Himmel, draußen, Menschliches Gesicht enthält.&#10;&#10;Automatisch generierte Beschreibung">
            <a:extLst>
              <a:ext uri="{FF2B5EF4-FFF2-40B4-BE49-F238E27FC236}">
                <a16:creationId xmlns:a16="http://schemas.microsoft.com/office/drawing/2014/main" id="{A8B4A23D-E330-1479-0FF9-37748D5B6CB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</p:spPr>
      </p:pic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378D385-B8EB-63BC-2840-21D1CB6453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3287688" y="476808"/>
            <a:ext cx="8351862" cy="1224000"/>
          </a:xfrm>
        </p:spPr>
        <p:txBody>
          <a:bodyPr/>
          <a:lstStyle/>
          <a:p>
            <a:r>
              <a:rPr lang="en-US"/>
              <a:t>Q&amp;A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4BE5C8D-B7DB-A7FF-EFA5-0CB3A1C5924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Textplatzhalter 23">
            <a:extLst>
              <a:ext uri="{FF2B5EF4-FFF2-40B4-BE49-F238E27FC236}">
                <a16:creationId xmlns:a16="http://schemas.microsoft.com/office/drawing/2014/main" id="{F8661987-D61E-0E5B-F1F7-53803145B2A3}"/>
              </a:ext>
            </a:extLst>
          </p:cNvPr>
          <p:cNvSpPr txBox="1">
            <a:spLocks/>
          </p:cNvSpPr>
          <p:nvPr/>
        </p:nvSpPr>
        <p:spPr bwMode="gray">
          <a:xfrm>
            <a:off x="3288210" y="476672"/>
            <a:ext cx="8351862" cy="1224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0" b="1" kern="1200" cap="none" baseline="0">
                <a:solidFill>
                  <a:schemeClr val="tx1"/>
                </a:solidFill>
                <a:latin typeface="+mj-lt"/>
                <a:ea typeface="Yu Gothic" panose="020B0400000000000000" pitchFamily="34" charset="-128"/>
                <a:cs typeface="Segoe UI Semibold" panose="020B0702040204020203" pitchFamily="34" charset="0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0" b="1" kern="1200" cap="all" baseline="0">
                <a:solidFill>
                  <a:schemeClr val="tx1"/>
                </a:solidFill>
                <a:latin typeface="+mj-lt"/>
                <a:ea typeface="Yu Gothic" panose="020B0400000000000000" pitchFamily="34" charset="-128"/>
                <a:cs typeface="Segoe UI Semilight" panose="020B0402040204020203" pitchFamily="34" charset="0"/>
              </a:defRPr>
            </a:lvl2pPr>
            <a:lvl3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None/>
              <a:defRPr sz="7000" b="1" kern="1200" cap="all">
                <a:solidFill>
                  <a:schemeClr val="tx1"/>
                </a:solidFill>
                <a:latin typeface="+mj-lt"/>
                <a:ea typeface="+mn-ea"/>
                <a:cs typeface="Segoe UI Semilight" panose="020B0402040204020203" pitchFamily="34" charset="0"/>
              </a:defRPr>
            </a:lvl3pPr>
            <a:lvl4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None/>
              <a:defRPr sz="7000" b="1" kern="1200" cap="all">
                <a:solidFill>
                  <a:schemeClr val="tx1"/>
                </a:solidFill>
                <a:latin typeface="+mj-lt"/>
                <a:ea typeface="+mn-ea"/>
                <a:cs typeface="Segoe UI Semilight" panose="020B0402040204020203" pitchFamily="34" charset="0"/>
              </a:defRPr>
            </a:lvl4pPr>
            <a:lvl5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None/>
              <a:defRPr sz="7000" b="1" kern="1200" cap="all">
                <a:solidFill>
                  <a:schemeClr val="tx1"/>
                </a:solidFill>
                <a:latin typeface="+mj-lt"/>
                <a:ea typeface="+mn-ea"/>
                <a:cs typeface="Segoe UI Semilight" panose="020B0402040204020203" pitchFamily="34" charset="0"/>
              </a:defRPr>
            </a:lvl5pPr>
            <a:lvl6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7000" b="1" kern="1200" cap="all">
                <a:solidFill>
                  <a:schemeClr val="tx1"/>
                </a:solidFill>
                <a:latin typeface="+mj-lt"/>
                <a:ea typeface="+mn-ea"/>
                <a:cs typeface="Segoe UI Semilight" panose="020B0402040204020203" pitchFamily="34" charset="0"/>
              </a:defRPr>
            </a:lvl6pPr>
            <a:lvl7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7000" b="1" kern="1200" cap="all">
                <a:solidFill>
                  <a:schemeClr val="tx1"/>
                </a:solidFill>
                <a:latin typeface="+mj-lt"/>
                <a:ea typeface="+mn-ea"/>
                <a:cs typeface="Segoe UI Semilight" panose="020B0402040204020203" pitchFamily="34" charset="0"/>
              </a:defRPr>
            </a:lvl7pPr>
            <a:lvl8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None/>
              <a:defRPr sz="7000" b="1" kern="1200" cap="all">
                <a:solidFill>
                  <a:schemeClr val="tx1"/>
                </a:solidFill>
                <a:latin typeface="+mj-lt"/>
                <a:ea typeface="+mn-ea"/>
                <a:cs typeface="Segoe UI Semilight" panose="020B0402040204020203" pitchFamily="34" charset="0"/>
              </a:defRPr>
            </a:lvl8pPr>
            <a:lvl9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None/>
              <a:defRPr sz="7000" b="1" kern="1200" cap="all">
                <a:solidFill>
                  <a:schemeClr val="tx1"/>
                </a:solidFill>
                <a:latin typeface="+mj-lt"/>
                <a:ea typeface="+mn-ea"/>
                <a:cs typeface="Segoe UI Semilight" panose="020B0402040204020203" pitchFamily="34" charset="0"/>
              </a:defRPr>
            </a:lvl9pPr>
          </a:lstStyle>
          <a:p>
            <a:endParaRPr lang="en-US"/>
          </a:p>
        </p:txBody>
      </p:sp>
      <p:sp>
        <p:nvSpPr>
          <p:cNvPr id="7" name="Titel 14">
            <a:extLst>
              <a:ext uri="{FF2B5EF4-FFF2-40B4-BE49-F238E27FC236}">
                <a16:creationId xmlns:a16="http://schemas.microsoft.com/office/drawing/2014/main" id="{22F96AAC-E9F1-497B-46A0-604375B40CDC}"/>
              </a:ext>
            </a:extLst>
          </p:cNvPr>
          <p:cNvSpPr txBox="1">
            <a:spLocks/>
          </p:cNvSpPr>
          <p:nvPr/>
        </p:nvSpPr>
        <p:spPr bwMode="gray">
          <a:xfrm>
            <a:off x="3288210" y="1537628"/>
            <a:ext cx="8351862" cy="1224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11500" b="1" kern="1200" cap="all" baseline="0">
                <a:solidFill>
                  <a:schemeClr val="bg1"/>
                </a:solidFill>
                <a:latin typeface="+mj-lt"/>
                <a:ea typeface="+mj-ea"/>
                <a:cs typeface="Segoe UI Light" panose="020B0502040204020203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Grafik 1" descr="Ein Bild, das Person, Kleidung, Menschliches Gesicht, Schulter enthält.&#10;&#10;Automatisch generierte Beschreibung">
            <a:extLst>
              <a:ext uri="{FF2B5EF4-FFF2-40B4-BE49-F238E27FC236}">
                <a16:creationId xmlns:a16="http://schemas.microsoft.com/office/drawing/2014/main" id="{AC318B1F-8D12-1DA9-E9FC-8B974AB5A9C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480408" y="258"/>
            <a:ext cx="5569818" cy="6857599"/>
          </a:xfrm>
          <a:prstGeom prst="rect">
            <a:avLst/>
          </a:prstGeom>
        </p:spPr>
      </p:pic>
      <p:sp>
        <p:nvSpPr>
          <p:cNvPr id="14" name="Titel 13">
            <a:extLst>
              <a:ext uri="{FF2B5EF4-FFF2-40B4-BE49-F238E27FC236}">
                <a16:creationId xmlns:a16="http://schemas.microsoft.com/office/drawing/2014/main" id="{11A50C90-F9D2-AED1-E928-0F1CDE8C0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ANKE!</a:t>
            </a:r>
          </a:p>
        </p:txBody>
      </p:sp>
    </p:spTree>
    <p:extLst>
      <p:ext uri="{BB962C8B-B14F-4D97-AF65-F5344CB8AC3E}">
        <p14:creationId xmlns:p14="http://schemas.microsoft.com/office/powerpoint/2010/main" val="542198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 descr="Ein Bild, das draußen, Wasser, Ozean, sitzend enthält.&#10;&#10;Automatisch generierte Beschreibung">
            <a:extLst>
              <a:ext uri="{FF2B5EF4-FFF2-40B4-BE49-F238E27FC236}">
                <a16:creationId xmlns:a16="http://schemas.microsoft.com/office/drawing/2014/main" id="{E9F7F1F2-98DE-BEC8-884D-103CE86946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1" name="Rechteck 60">
            <a:extLst>
              <a:ext uri="{FF2B5EF4-FFF2-40B4-BE49-F238E27FC236}">
                <a16:creationId xmlns:a16="http://schemas.microsoft.com/office/drawing/2014/main" id="{50C8FE58-80E3-1D6B-531C-B396880FAC76}"/>
              </a:ext>
            </a:extLst>
          </p:cNvPr>
          <p:cNvSpPr/>
          <p:nvPr/>
        </p:nvSpPr>
        <p:spPr bwMode="gray">
          <a:xfrm>
            <a:off x="6046175" y="2799678"/>
            <a:ext cx="3115408" cy="96562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180000" indent="-180000" algn="l" rtl="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sz="160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4A4F50F-0D85-5E00-E4BA-16F7A98EA9C3}"/>
              </a:ext>
            </a:extLst>
          </p:cNvPr>
          <p:cNvGrpSpPr/>
          <p:nvPr/>
        </p:nvGrpSpPr>
        <p:grpSpPr>
          <a:xfrm>
            <a:off x="4078675" y="212536"/>
            <a:ext cx="2124817" cy="1829218"/>
            <a:chOff x="6889833" y="2164614"/>
            <a:chExt cx="2157417" cy="1857283"/>
          </a:xfrm>
        </p:grpSpPr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7CE9D775-3999-ECC7-48CB-248520A74CF6}"/>
                </a:ext>
              </a:extLst>
            </p:cNvPr>
            <p:cNvSpPr/>
            <p:nvPr/>
          </p:nvSpPr>
          <p:spPr bwMode="gray">
            <a:xfrm>
              <a:off x="7087437" y="2164614"/>
              <a:ext cx="1857283" cy="1857283"/>
            </a:xfrm>
            <a:prstGeom prst="ellipse">
              <a:avLst/>
            </a:prstGeom>
            <a:solidFill>
              <a:schemeClr val="bg1">
                <a:alpha val="4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>
                <a:spcAft>
                  <a:spcPts val="600"/>
                </a:spcAft>
              </a:pPr>
              <a:endParaRPr lang="de-DE" sz="160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D88758A5-EE7A-60C5-CD5C-A0399387510E}"/>
                </a:ext>
              </a:extLst>
            </p:cNvPr>
            <p:cNvGrpSpPr/>
            <p:nvPr/>
          </p:nvGrpSpPr>
          <p:grpSpPr>
            <a:xfrm>
              <a:off x="6889833" y="2536955"/>
              <a:ext cx="2157417" cy="1143665"/>
              <a:chOff x="6397653" y="3770808"/>
              <a:chExt cx="2157417" cy="1143665"/>
            </a:xfrm>
          </p:grpSpPr>
          <p:sp>
            <p:nvSpPr>
              <p:cNvPr id="47" name="Rechteck 46">
                <a:extLst>
                  <a:ext uri="{FF2B5EF4-FFF2-40B4-BE49-F238E27FC236}">
                    <a16:creationId xmlns:a16="http://schemas.microsoft.com/office/drawing/2014/main" id="{7D43B278-2306-4E1C-9032-4955E17EC555}"/>
                  </a:ext>
                </a:extLst>
              </p:cNvPr>
              <p:cNvSpPr/>
              <p:nvPr/>
            </p:nvSpPr>
            <p:spPr>
              <a:xfrm>
                <a:off x="6397653" y="3770808"/>
                <a:ext cx="2157417" cy="792000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algn="ctr" rtl="0">
                  <a:lnSpc>
                    <a:spcPct val="90000"/>
                  </a:lnSpc>
                  <a:buClr>
                    <a:srgbClr val="00136F"/>
                  </a:buClr>
                </a:pPr>
                <a:r>
                  <a:rPr lang="de-DE" sz="4400" b="1">
                    <a:latin typeface="+mj-lt"/>
                  </a:rPr>
                  <a:t>170</a:t>
                </a:r>
                <a:r>
                  <a:rPr lang="de-DE" sz="1400"/>
                  <a:t> </a:t>
                </a:r>
              </a:p>
            </p:txBody>
          </p:sp>
          <p:sp>
            <p:nvSpPr>
              <p:cNvPr id="53" name="Textfeld 52">
                <a:extLst>
                  <a:ext uri="{FF2B5EF4-FFF2-40B4-BE49-F238E27FC236}">
                    <a16:creationId xmlns:a16="http://schemas.microsoft.com/office/drawing/2014/main" id="{83D00F03-848A-68F1-7BAB-CEC277E424E0}"/>
                  </a:ext>
                </a:extLst>
              </p:cNvPr>
              <p:cNvSpPr txBox="1"/>
              <p:nvPr/>
            </p:nvSpPr>
            <p:spPr bwMode="gray">
              <a:xfrm>
                <a:off x="6479621" y="4490269"/>
                <a:ext cx="1993480" cy="424204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 rtl="0">
                  <a:lnSpc>
                    <a:spcPct val="90000"/>
                  </a:lnSpc>
                  <a:buClr>
                    <a:srgbClr val="00136F"/>
                  </a:buClr>
                </a:pPr>
                <a:r>
                  <a:rPr lang="de-DE" sz="1400">
                    <a:solidFill>
                      <a:schemeClr val="bg2"/>
                    </a:solidFill>
                  </a:rPr>
                  <a:t>Standorte</a:t>
                </a:r>
                <a:endParaRPr lang="de-DE" sz="1400" baseline="30000">
                  <a:solidFill>
                    <a:schemeClr val="bg2"/>
                  </a:solidFill>
                </a:endParaRPr>
              </a:p>
            </p:txBody>
          </p:sp>
        </p:grp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F9B04A0-915D-3ED8-9A16-E86E7DA3D959}"/>
              </a:ext>
            </a:extLst>
          </p:cNvPr>
          <p:cNvGrpSpPr/>
          <p:nvPr/>
        </p:nvGrpSpPr>
        <p:grpSpPr>
          <a:xfrm>
            <a:off x="3683175" y="2233488"/>
            <a:ext cx="2218274" cy="2194793"/>
            <a:chOff x="6271914" y="3636784"/>
            <a:chExt cx="2765179" cy="2735908"/>
          </a:xfrm>
        </p:grpSpPr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2BF907B0-A8A4-CE13-C553-F2C8FFB8F3AA}"/>
                </a:ext>
              </a:extLst>
            </p:cNvPr>
            <p:cNvSpPr/>
            <p:nvPr/>
          </p:nvSpPr>
          <p:spPr bwMode="gray">
            <a:xfrm>
              <a:off x="6301185" y="3636784"/>
              <a:ext cx="2735908" cy="2735908"/>
            </a:xfrm>
            <a:prstGeom prst="ellipse">
              <a:avLst/>
            </a:prstGeom>
            <a:solidFill>
              <a:schemeClr val="bg1">
                <a:alpha val="4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>
                <a:spcAft>
                  <a:spcPts val="600"/>
                </a:spcAft>
              </a:pPr>
              <a:endParaRPr lang="de-DE" sz="160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6F9450C0-7B9F-1ED2-7292-19C8C55B6CBB}"/>
                </a:ext>
              </a:extLst>
            </p:cNvPr>
            <p:cNvGrpSpPr/>
            <p:nvPr/>
          </p:nvGrpSpPr>
          <p:grpSpPr>
            <a:xfrm>
              <a:off x="6271914" y="4430930"/>
              <a:ext cx="2748499" cy="945233"/>
              <a:chOff x="9290316" y="5311688"/>
              <a:chExt cx="2748499" cy="945233"/>
            </a:xfrm>
          </p:grpSpPr>
          <p:sp>
            <p:nvSpPr>
              <p:cNvPr id="29" name="Rechteck 28">
                <a:extLst>
                  <a:ext uri="{FF2B5EF4-FFF2-40B4-BE49-F238E27FC236}">
                    <a16:creationId xmlns:a16="http://schemas.microsoft.com/office/drawing/2014/main" id="{C8924CEA-5B2F-A953-8855-4D381C93687E}"/>
                  </a:ext>
                </a:extLst>
              </p:cNvPr>
              <p:cNvSpPr/>
              <p:nvPr/>
            </p:nvSpPr>
            <p:spPr>
              <a:xfrm>
                <a:off x="9290316" y="5311688"/>
                <a:ext cx="2748499" cy="818371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algn="ctr" rtl="0">
                  <a:lnSpc>
                    <a:spcPct val="90000"/>
                  </a:lnSpc>
                  <a:buClr>
                    <a:srgbClr val="00136F"/>
                  </a:buClr>
                </a:pPr>
                <a:r>
                  <a:rPr lang="de-DE" sz="3600" b="1">
                    <a:latin typeface="+mj-lt"/>
                  </a:rPr>
                  <a:t>&gt;22.000</a:t>
                </a:r>
                <a:endParaRPr lang="de-DE" sz="3600">
                  <a:solidFill>
                    <a:schemeClr val="bg2"/>
                  </a:solidFill>
                  <a:cs typeface="Segoe UI Light" panose="020B0502040204020203" pitchFamily="34" charset="0"/>
                </a:endParaRPr>
              </a:p>
            </p:txBody>
          </p:sp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B83D4809-C9DB-8A1A-805B-95D944C59E1E}"/>
                  </a:ext>
                </a:extLst>
              </p:cNvPr>
              <p:cNvSpPr txBox="1"/>
              <p:nvPr/>
            </p:nvSpPr>
            <p:spPr bwMode="gray">
              <a:xfrm>
                <a:off x="9721516" y="6079493"/>
                <a:ext cx="2101044" cy="177428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 rtl="0">
                  <a:lnSpc>
                    <a:spcPct val="90000"/>
                  </a:lnSpc>
                  <a:buClr>
                    <a:srgbClr val="00136F"/>
                  </a:buClr>
                </a:pPr>
                <a:r>
                  <a:rPr lang="de-DE" sz="1400" dirty="0">
                    <a:solidFill>
                      <a:schemeClr val="bg2"/>
                    </a:solidFill>
                  </a:rPr>
                  <a:t>Mitarbeiter weltweit</a:t>
                </a:r>
                <a:endParaRPr lang="de-DE" sz="1400" dirty="0">
                  <a:solidFill>
                    <a:schemeClr val="bg2"/>
                  </a:solidFill>
                  <a:cs typeface="Segoe UI Light" panose="020B0502040204020203" pitchFamily="34" charset="0"/>
                </a:endParaRPr>
              </a:p>
            </p:txBody>
          </p:sp>
        </p:grpSp>
      </p:grpSp>
      <p:pic>
        <p:nvPicPr>
          <p:cNvPr id="5" name="Grafik 4">
            <a:extLst>
              <a:ext uri="{FF2B5EF4-FFF2-40B4-BE49-F238E27FC236}">
                <a16:creationId xmlns:a16="http://schemas.microsoft.com/office/drawing/2014/main" id="{56FE4421-1509-EA91-BA2B-E255D3A09C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gray">
          <a:xfrm>
            <a:off x="10766994" y="6455900"/>
            <a:ext cx="874284" cy="144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9530E1F-6A53-C69A-51BA-249D1B5891D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4401" r="9061"/>
          <a:stretch/>
        </p:blipFill>
        <p:spPr>
          <a:xfrm>
            <a:off x="-1" y="-14514"/>
            <a:ext cx="4639177" cy="6874746"/>
          </a:xfrm>
          <a:prstGeom prst="rect">
            <a:avLst/>
          </a:prstGeom>
        </p:spPr>
      </p:pic>
      <p:sp>
        <p:nvSpPr>
          <p:cNvPr id="9" name="Titel 18">
            <a:extLst>
              <a:ext uri="{FF2B5EF4-FFF2-40B4-BE49-F238E27FC236}">
                <a16:creationId xmlns:a16="http://schemas.microsoft.com/office/drawing/2014/main" id="{A35CDAAF-1823-C19F-CD8D-0F4BB22B2296}"/>
              </a:ext>
            </a:extLst>
          </p:cNvPr>
          <p:cNvSpPr txBox="1">
            <a:spLocks/>
          </p:cNvSpPr>
          <p:nvPr/>
        </p:nvSpPr>
        <p:spPr bwMode="gray">
          <a:xfrm>
            <a:off x="7032104" y="620688"/>
            <a:ext cx="4608512" cy="2592000"/>
          </a:xfrm>
          <a:prstGeom prst="rect">
            <a:avLst/>
          </a:prstGeom>
        </p:spPr>
        <p:txBody>
          <a:bodyPr vert="horz" wrap="square" lIns="0" tIns="72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tx1"/>
                </a:solidFill>
                <a:latin typeface="+mj-lt"/>
                <a:ea typeface="+mj-ea"/>
                <a:cs typeface="Segoe UI Light" panose="020B0502040204020203" pitchFamily="34" charset="0"/>
              </a:defRPr>
            </a:lvl1pPr>
          </a:lstStyle>
          <a:p>
            <a:pPr algn="r" rtl="0"/>
            <a:r>
              <a:rPr lang="de-DE" sz="4400">
                <a:cs typeface="Segoe UI Light"/>
              </a:rPr>
              <a:t>Beiersdorf</a:t>
            </a:r>
          </a:p>
          <a:p>
            <a:pPr algn="r"/>
            <a:r>
              <a:rPr lang="de-DE" sz="4000" b="0">
                <a:solidFill>
                  <a:srgbClr val="0032A0"/>
                </a:solidFill>
                <a:latin typeface="Avenir Next LT Pro Light"/>
                <a:cs typeface="Segoe UI Light"/>
              </a:rPr>
              <a:t>In Zahlen</a:t>
            </a:r>
            <a:endParaRPr lang="de-DE" sz="4000" b="0">
              <a:latin typeface="+mn-lt"/>
              <a:cs typeface="Segoe UI Light"/>
            </a:endParaRPr>
          </a:p>
        </p:txBody>
      </p:sp>
      <p:sp>
        <p:nvSpPr>
          <p:cNvPr id="2" name="Textplatzhalter 14" hidden="1">
            <a:extLst>
              <a:ext uri="{FF2B5EF4-FFF2-40B4-BE49-F238E27FC236}">
                <a16:creationId xmlns:a16="http://schemas.microsoft.com/office/drawing/2014/main" id="{F535E931-BCB3-2ECD-4088-72AA68100EBC}"/>
              </a:ext>
            </a:extLst>
          </p:cNvPr>
          <p:cNvSpPr txBox="1">
            <a:spLocks/>
          </p:cNvSpPr>
          <p:nvPr/>
        </p:nvSpPr>
        <p:spPr>
          <a:xfrm>
            <a:off x="11290565" y="404813"/>
            <a:ext cx="354913" cy="293047"/>
          </a:xfrm>
          <a:prstGeom prst="rect">
            <a:avLst/>
          </a:prstGeom>
          <a:blipFill>
            <a:blip r:embed="rId6"/>
            <a:srcRect/>
            <a:stretch>
              <a:fillRect l="-632" r="-632"/>
            </a:stretch>
          </a:blipFill>
        </p:spPr>
        <p:txBody>
          <a:bodyPr rtlCol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1" kern="1200" cap="none" baseline="0">
                <a:noFill/>
                <a:latin typeface="+mj-lt"/>
                <a:ea typeface="Yu Gothic" panose="020B0400000000000000" pitchFamily="34" charset="-128"/>
                <a:cs typeface="Segoe UI Semibold" panose="020B0702040204020203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0" kern="1200" cap="none" baseline="0">
                <a:solidFill>
                  <a:schemeClr val="bg2"/>
                </a:solidFill>
                <a:latin typeface="+mn-lt"/>
                <a:ea typeface="Yu Gothic" panose="020B0400000000000000" pitchFamily="34" charset="-128"/>
                <a:cs typeface="Segoe UI Semilight" panose="020B0402040204020203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Tx/>
              <a:buNone/>
              <a:defRPr sz="16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Tx/>
              <a:buNone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Tx/>
              <a:buNone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Tx/>
              <a:buNone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Tx/>
              <a:buNone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9pPr>
          </a:lstStyle>
          <a:p>
            <a:pPr rtl="0"/>
            <a:r>
              <a:rPr lang="de-DE"/>
              <a:t> </a:t>
            </a:r>
          </a:p>
        </p:txBody>
      </p:sp>
      <p:sp>
        <p:nvSpPr>
          <p:cNvPr id="6" name="Textplatzhalter 14">
            <a:extLst>
              <a:ext uri="{FF2B5EF4-FFF2-40B4-BE49-F238E27FC236}">
                <a16:creationId xmlns:a16="http://schemas.microsoft.com/office/drawing/2014/main" id="{4BEC72FB-0B39-D91C-1796-FEBEAAC8F089}"/>
              </a:ext>
            </a:extLst>
          </p:cNvPr>
          <p:cNvSpPr txBox="1">
            <a:spLocks/>
          </p:cNvSpPr>
          <p:nvPr/>
        </p:nvSpPr>
        <p:spPr>
          <a:xfrm>
            <a:off x="11290565" y="404813"/>
            <a:ext cx="354913" cy="293047"/>
          </a:xfrm>
          <a:prstGeom prst="rect">
            <a:avLst/>
          </a:prstGeom>
          <a:blipFill>
            <a:blip r:embed="rId7"/>
            <a:srcRect/>
            <a:stretch>
              <a:fillRect l="-632" r="-632"/>
            </a:stretch>
          </a:blipFill>
        </p:spPr>
        <p:txBody>
          <a:bodyPr rtlCol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1" kern="1200" cap="none" baseline="0">
                <a:noFill/>
                <a:latin typeface="+mj-lt"/>
                <a:ea typeface="Yu Gothic" panose="020B0400000000000000" pitchFamily="34" charset="-128"/>
                <a:cs typeface="Segoe UI Semibold" panose="020B0702040204020203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0" kern="1200" cap="none" baseline="0">
                <a:solidFill>
                  <a:schemeClr val="bg2"/>
                </a:solidFill>
                <a:latin typeface="+mn-lt"/>
                <a:ea typeface="Yu Gothic" panose="020B0400000000000000" pitchFamily="34" charset="-128"/>
                <a:cs typeface="Segoe UI Semilight" panose="020B0402040204020203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Tx/>
              <a:buNone/>
              <a:defRPr sz="16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Tx/>
              <a:buNone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Tx/>
              <a:buNone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Tx/>
              <a:buNone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Tx/>
              <a:buNone/>
              <a:defRPr sz="1400" b="0" kern="1200">
                <a:solidFill>
                  <a:schemeClr val="bg2"/>
                </a:solidFill>
                <a:latin typeface="+mn-lt"/>
                <a:ea typeface="+mn-ea"/>
                <a:cs typeface="Segoe UI Semilight" panose="020B0402040204020203" pitchFamily="34" charset="0"/>
              </a:defRPr>
            </a:lvl9pPr>
          </a:lstStyle>
          <a:p>
            <a:pPr rtl="0"/>
            <a:r>
              <a:rPr lang="de-DE"/>
              <a:t> 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D1457B9F-2CDD-AF66-BD24-6F6656E551F1}"/>
              </a:ext>
            </a:extLst>
          </p:cNvPr>
          <p:cNvGrpSpPr/>
          <p:nvPr/>
        </p:nvGrpSpPr>
        <p:grpSpPr>
          <a:xfrm>
            <a:off x="4339790" y="4954768"/>
            <a:ext cx="5882132" cy="1743226"/>
            <a:chOff x="-240704" y="5877272"/>
            <a:chExt cx="4790788" cy="1419796"/>
          </a:xfrm>
        </p:grpSpPr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C166473D-F0CC-CD36-5656-9B00E090BC5F}"/>
                </a:ext>
              </a:extLst>
            </p:cNvPr>
            <p:cNvGrpSpPr/>
            <p:nvPr/>
          </p:nvGrpSpPr>
          <p:grpSpPr>
            <a:xfrm>
              <a:off x="-232417" y="5877272"/>
              <a:ext cx="459009" cy="458914"/>
              <a:chOff x="-232417" y="5877272"/>
              <a:chExt cx="459009" cy="458914"/>
            </a:xfrm>
          </p:grpSpPr>
          <p:sp>
            <p:nvSpPr>
              <p:cNvPr id="1090" name="Freihandform: Form 518">
                <a:extLst>
                  <a:ext uri="{FF2B5EF4-FFF2-40B4-BE49-F238E27FC236}">
                    <a16:creationId xmlns:a16="http://schemas.microsoft.com/office/drawing/2014/main" id="{F22388A9-1633-4F11-CE21-4180C5729F52}"/>
                  </a:ext>
                </a:extLst>
              </p:cNvPr>
              <p:cNvSpPr/>
              <p:nvPr/>
            </p:nvSpPr>
            <p:spPr>
              <a:xfrm>
                <a:off x="-232417" y="5877272"/>
                <a:ext cx="459009" cy="458914"/>
              </a:xfrm>
              <a:custGeom>
                <a:avLst/>
                <a:gdLst>
                  <a:gd name="connsiteX0" fmla="*/ 459010 w 459009"/>
                  <a:gd name="connsiteY0" fmla="*/ 229457 h 458914"/>
                  <a:gd name="connsiteX1" fmla="*/ 229553 w 459009"/>
                  <a:gd name="connsiteY1" fmla="*/ 458915 h 458914"/>
                  <a:gd name="connsiteX2" fmla="*/ 0 w 459009"/>
                  <a:gd name="connsiteY2" fmla="*/ 229457 h 458914"/>
                  <a:gd name="connsiteX3" fmla="*/ 229457 w 459009"/>
                  <a:gd name="connsiteY3" fmla="*/ 0 h 458914"/>
                  <a:gd name="connsiteX4" fmla="*/ 458915 w 459009"/>
                  <a:gd name="connsiteY4" fmla="*/ 229457 h 458914"/>
                  <a:gd name="connsiteX5" fmla="*/ 458915 w 459009"/>
                  <a:gd name="connsiteY5" fmla="*/ 229457 h 458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9009" h="458914">
                    <a:moveTo>
                      <a:pt x="459010" y="229457"/>
                    </a:moveTo>
                    <a:cubicBezTo>
                      <a:pt x="459010" y="356235"/>
                      <a:pt x="356235" y="458915"/>
                      <a:pt x="229553" y="458915"/>
                    </a:cubicBezTo>
                    <a:cubicBezTo>
                      <a:pt x="102870" y="458915"/>
                      <a:pt x="0" y="356235"/>
                      <a:pt x="0" y="229457"/>
                    </a:cubicBezTo>
                    <a:cubicBezTo>
                      <a:pt x="0" y="102680"/>
                      <a:pt x="102775" y="0"/>
                      <a:pt x="229457" y="0"/>
                    </a:cubicBezTo>
                    <a:cubicBezTo>
                      <a:pt x="356140" y="0"/>
                      <a:pt x="458915" y="102775"/>
                      <a:pt x="458915" y="229457"/>
                    </a:cubicBezTo>
                    <a:lnTo>
                      <a:pt x="458915" y="229457"/>
                    </a:lnTo>
                    <a:close/>
                  </a:path>
                </a:pathLst>
              </a:custGeom>
              <a:solidFill>
                <a:srgbClr val="1E3D8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91" name="Freihandform: Form 519">
                <a:extLst>
                  <a:ext uri="{FF2B5EF4-FFF2-40B4-BE49-F238E27FC236}">
                    <a16:creationId xmlns:a16="http://schemas.microsoft.com/office/drawing/2014/main" id="{BFDBFB86-43E9-36B1-E09F-8C50939A2B7B}"/>
                  </a:ext>
                </a:extLst>
              </p:cNvPr>
              <p:cNvSpPr/>
              <p:nvPr/>
            </p:nvSpPr>
            <p:spPr>
              <a:xfrm>
                <a:off x="-179362" y="6062056"/>
                <a:ext cx="360616" cy="89439"/>
              </a:xfrm>
              <a:custGeom>
                <a:avLst/>
                <a:gdLst>
                  <a:gd name="connsiteX0" fmla="*/ 308896 w 360616"/>
                  <a:gd name="connsiteY0" fmla="*/ 60103 h 89439"/>
                  <a:gd name="connsiteX1" fmla="*/ 319183 w 360616"/>
                  <a:gd name="connsiteY1" fmla="*/ 36767 h 89439"/>
                  <a:gd name="connsiteX2" fmla="*/ 328994 w 360616"/>
                  <a:gd name="connsiteY2" fmla="*/ 60103 h 89439"/>
                  <a:gd name="connsiteX3" fmla="*/ 308896 w 360616"/>
                  <a:gd name="connsiteY3" fmla="*/ 60103 h 89439"/>
                  <a:gd name="connsiteX4" fmla="*/ 319183 w 360616"/>
                  <a:gd name="connsiteY4" fmla="*/ 0 h 89439"/>
                  <a:gd name="connsiteX5" fmla="*/ 278606 w 360616"/>
                  <a:gd name="connsiteY5" fmla="*/ 84773 h 89439"/>
                  <a:gd name="connsiteX6" fmla="*/ 299085 w 360616"/>
                  <a:gd name="connsiteY6" fmla="*/ 84773 h 89439"/>
                  <a:gd name="connsiteX7" fmla="*/ 303181 w 360616"/>
                  <a:gd name="connsiteY7" fmla="*/ 75152 h 89439"/>
                  <a:gd name="connsiteX8" fmla="*/ 335185 w 360616"/>
                  <a:gd name="connsiteY8" fmla="*/ 75152 h 89439"/>
                  <a:gd name="connsiteX9" fmla="*/ 339281 w 360616"/>
                  <a:gd name="connsiteY9" fmla="*/ 84773 h 89439"/>
                  <a:gd name="connsiteX10" fmla="*/ 360617 w 360616"/>
                  <a:gd name="connsiteY10" fmla="*/ 84773 h 89439"/>
                  <a:gd name="connsiteX11" fmla="*/ 319183 w 360616"/>
                  <a:gd name="connsiteY11" fmla="*/ 0 h 89439"/>
                  <a:gd name="connsiteX12" fmla="*/ 319183 w 360616"/>
                  <a:gd name="connsiteY12" fmla="*/ 0 h 89439"/>
                  <a:gd name="connsiteX13" fmla="*/ 269272 w 360616"/>
                  <a:gd name="connsiteY13" fmla="*/ 22098 h 89439"/>
                  <a:gd name="connsiteX14" fmla="*/ 235934 w 360616"/>
                  <a:gd name="connsiteY14" fmla="*/ 22098 h 89439"/>
                  <a:gd name="connsiteX15" fmla="*/ 235934 w 360616"/>
                  <a:gd name="connsiteY15" fmla="*/ 35909 h 89439"/>
                  <a:gd name="connsiteX16" fmla="*/ 269272 w 360616"/>
                  <a:gd name="connsiteY16" fmla="*/ 35909 h 89439"/>
                  <a:gd name="connsiteX17" fmla="*/ 269272 w 360616"/>
                  <a:gd name="connsiteY17" fmla="*/ 53435 h 89439"/>
                  <a:gd name="connsiteX18" fmla="*/ 235934 w 360616"/>
                  <a:gd name="connsiteY18" fmla="*/ 53435 h 89439"/>
                  <a:gd name="connsiteX19" fmla="*/ 235934 w 360616"/>
                  <a:gd name="connsiteY19" fmla="*/ 67246 h 89439"/>
                  <a:gd name="connsiteX20" fmla="*/ 269272 w 360616"/>
                  <a:gd name="connsiteY20" fmla="*/ 67246 h 89439"/>
                  <a:gd name="connsiteX21" fmla="*/ 269272 w 360616"/>
                  <a:gd name="connsiteY21" fmla="*/ 84773 h 89439"/>
                  <a:gd name="connsiteX22" fmla="*/ 216218 w 360616"/>
                  <a:gd name="connsiteY22" fmla="*/ 84773 h 89439"/>
                  <a:gd name="connsiteX23" fmla="*/ 216218 w 360616"/>
                  <a:gd name="connsiteY23" fmla="*/ 4667 h 89439"/>
                  <a:gd name="connsiteX24" fmla="*/ 269272 w 360616"/>
                  <a:gd name="connsiteY24" fmla="*/ 4667 h 89439"/>
                  <a:gd name="connsiteX25" fmla="*/ 269272 w 360616"/>
                  <a:gd name="connsiteY25" fmla="*/ 22193 h 89439"/>
                  <a:gd name="connsiteX26" fmla="*/ 269272 w 360616"/>
                  <a:gd name="connsiteY26" fmla="*/ 22193 h 89439"/>
                  <a:gd name="connsiteX27" fmla="*/ 166497 w 360616"/>
                  <a:gd name="connsiteY27" fmla="*/ 89345 h 89439"/>
                  <a:gd name="connsiteX28" fmla="*/ 124682 w 360616"/>
                  <a:gd name="connsiteY28" fmla="*/ 4572 h 89439"/>
                  <a:gd name="connsiteX29" fmla="*/ 146876 w 360616"/>
                  <a:gd name="connsiteY29" fmla="*/ 4572 h 89439"/>
                  <a:gd name="connsiteX30" fmla="*/ 166592 w 360616"/>
                  <a:gd name="connsiteY30" fmla="*/ 48006 h 89439"/>
                  <a:gd name="connsiteX31" fmla="*/ 185452 w 360616"/>
                  <a:gd name="connsiteY31" fmla="*/ 4572 h 89439"/>
                  <a:gd name="connsiteX32" fmla="*/ 207169 w 360616"/>
                  <a:gd name="connsiteY32" fmla="*/ 4572 h 89439"/>
                  <a:gd name="connsiteX33" fmla="*/ 166592 w 360616"/>
                  <a:gd name="connsiteY33" fmla="*/ 89345 h 89439"/>
                  <a:gd name="connsiteX34" fmla="*/ 166592 w 360616"/>
                  <a:gd name="connsiteY34" fmla="*/ 89345 h 89439"/>
                  <a:gd name="connsiteX35" fmla="*/ 115443 w 360616"/>
                  <a:gd name="connsiteY35" fmla="*/ 84773 h 89439"/>
                  <a:gd name="connsiteX36" fmla="*/ 95726 w 360616"/>
                  <a:gd name="connsiteY36" fmla="*/ 84773 h 89439"/>
                  <a:gd name="connsiteX37" fmla="*/ 95726 w 360616"/>
                  <a:gd name="connsiteY37" fmla="*/ 4667 h 89439"/>
                  <a:gd name="connsiteX38" fmla="*/ 115443 w 360616"/>
                  <a:gd name="connsiteY38" fmla="*/ 4667 h 89439"/>
                  <a:gd name="connsiteX39" fmla="*/ 115443 w 360616"/>
                  <a:gd name="connsiteY39" fmla="*/ 84773 h 89439"/>
                  <a:gd name="connsiteX40" fmla="*/ 115443 w 360616"/>
                  <a:gd name="connsiteY40" fmla="*/ 84773 h 89439"/>
                  <a:gd name="connsiteX41" fmla="*/ 71818 w 360616"/>
                  <a:gd name="connsiteY41" fmla="*/ 4667 h 89439"/>
                  <a:gd name="connsiteX42" fmla="*/ 52102 w 360616"/>
                  <a:gd name="connsiteY42" fmla="*/ 4667 h 89439"/>
                  <a:gd name="connsiteX43" fmla="*/ 52102 w 360616"/>
                  <a:gd name="connsiteY43" fmla="*/ 46387 h 89439"/>
                  <a:gd name="connsiteX44" fmla="*/ 0 w 360616"/>
                  <a:gd name="connsiteY44" fmla="*/ 95 h 89439"/>
                  <a:gd name="connsiteX45" fmla="*/ 0 w 360616"/>
                  <a:gd name="connsiteY45" fmla="*/ 84868 h 89439"/>
                  <a:gd name="connsiteX46" fmla="*/ 19717 w 360616"/>
                  <a:gd name="connsiteY46" fmla="*/ 84868 h 89439"/>
                  <a:gd name="connsiteX47" fmla="*/ 19717 w 360616"/>
                  <a:gd name="connsiteY47" fmla="*/ 43148 h 89439"/>
                  <a:gd name="connsiteX48" fmla="*/ 71818 w 360616"/>
                  <a:gd name="connsiteY48" fmla="*/ 89440 h 89439"/>
                  <a:gd name="connsiteX49" fmla="*/ 71818 w 360616"/>
                  <a:gd name="connsiteY49" fmla="*/ 4667 h 89439"/>
                  <a:gd name="connsiteX50" fmla="*/ 71818 w 360616"/>
                  <a:gd name="connsiteY50" fmla="*/ 4667 h 89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60616" h="89439">
                    <a:moveTo>
                      <a:pt x="308896" y="60103"/>
                    </a:moveTo>
                    <a:lnTo>
                      <a:pt x="319183" y="36767"/>
                    </a:lnTo>
                    <a:lnTo>
                      <a:pt x="328994" y="60103"/>
                    </a:lnTo>
                    <a:lnTo>
                      <a:pt x="308896" y="60103"/>
                    </a:lnTo>
                    <a:close/>
                    <a:moveTo>
                      <a:pt x="319183" y="0"/>
                    </a:moveTo>
                    <a:cubicBezTo>
                      <a:pt x="305657" y="26670"/>
                      <a:pt x="292132" y="55531"/>
                      <a:pt x="278606" y="84773"/>
                    </a:cubicBezTo>
                    <a:lnTo>
                      <a:pt x="299085" y="84773"/>
                    </a:lnTo>
                    <a:lnTo>
                      <a:pt x="303181" y="75152"/>
                    </a:lnTo>
                    <a:lnTo>
                      <a:pt x="335185" y="75152"/>
                    </a:lnTo>
                    <a:lnTo>
                      <a:pt x="339281" y="84773"/>
                    </a:lnTo>
                    <a:lnTo>
                      <a:pt x="360617" y="84773"/>
                    </a:lnTo>
                    <a:cubicBezTo>
                      <a:pt x="346615" y="55531"/>
                      <a:pt x="332708" y="26384"/>
                      <a:pt x="319183" y="0"/>
                    </a:cubicBezTo>
                    <a:lnTo>
                      <a:pt x="319183" y="0"/>
                    </a:lnTo>
                    <a:close/>
                    <a:moveTo>
                      <a:pt x="269272" y="22098"/>
                    </a:moveTo>
                    <a:lnTo>
                      <a:pt x="235934" y="22098"/>
                    </a:lnTo>
                    <a:lnTo>
                      <a:pt x="235934" y="35909"/>
                    </a:lnTo>
                    <a:lnTo>
                      <a:pt x="269272" y="35909"/>
                    </a:lnTo>
                    <a:lnTo>
                      <a:pt x="269272" y="53435"/>
                    </a:lnTo>
                    <a:lnTo>
                      <a:pt x="235934" y="53435"/>
                    </a:lnTo>
                    <a:lnTo>
                      <a:pt x="235934" y="67246"/>
                    </a:lnTo>
                    <a:lnTo>
                      <a:pt x="269272" y="67246"/>
                    </a:lnTo>
                    <a:lnTo>
                      <a:pt x="269272" y="84773"/>
                    </a:lnTo>
                    <a:lnTo>
                      <a:pt x="216218" y="84773"/>
                    </a:lnTo>
                    <a:lnTo>
                      <a:pt x="216218" y="4667"/>
                    </a:lnTo>
                    <a:lnTo>
                      <a:pt x="269272" y="4667"/>
                    </a:lnTo>
                    <a:lnTo>
                      <a:pt x="269272" y="22193"/>
                    </a:lnTo>
                    <a:lnTo>
                      <a:pt x="269272" y="22193"/>
                    </a:lnTo>
                    <a:close/>
                    <a:moveTo>
                      <a:pt x="166497" y="89345"/>
                    </a:moveTo>
                    <a:cubicBezTo>
                      <a:pt x="152590" y="63056"/>
                      <a:pt x="138589" y="32957"/>
                      <a:pt x="124682" y="4572"/>
                    </a:cubicBezTo>
                    <a:lnTo>
                      <a:pt x="146876" y="4572"/>
                    </a:lnTo>
                    <a:lnTo>
                      <a:pt x="166592" y="48006"/>
                    </a:lnTo>
                    <a:lnTo>
                      <a:pt x="185452" y="4572"/>
                    </a:lnTo>
                    <a:lnTo>
                      <a:pt x="207169" y="4572"/>
                    </a:lnTo>
                    <a:cubicBezTo>
                      <a:pt x="193643" y="32957"/>
                      <a:pt x="180118" y="62960"/>
                      <a:pt x="166592" y="89345"/>
                    </a:cubicBezTo>
                    <a:lnTo>
                      <a:pt x="166592" y="89345"/>
                    </a:lnTo>
                    <a:close/>
                    <a:moveTo>
                      <a:pt x="115443" y="84773"/>
                    </a:moveTo>
                    <a:lnTo>
                      <a:pt x="95726" y="84773"/>
                    </a:lnTo>
                    <a:lnTo>
                      <a:pt x="95726" y="4667"/>
                    </a:lnTo>
                    <a:lnTo>
                      <a:pt x="115443" y="4667"/>
                    </a:lnTo>
                    <a:lnTo>
                      <a:pt x="115443" y="84773"/>
                    </a:lnTo>
                    <a:lnTo>
                      <a:pt x="115443" y="84773"/>
                    </a:lnTo>
                    <a:close/>
                    <a:moveTo>
                      <a:pt x="71818" y="4667"/>
                    </a:moveTo>
                    <a:lnTo>
                      <a:pt x="52102" y="4667"/>
                    </a:lnTo>
                    <a:lnTo>
                      <a:pt x="52102" y="46387"/>
                    </a:lnTo>
                    <a:cubicBezTo>
                      <a:pt x="34862" y="30956"/>
                      <a:pt x="17621" y="15526"/>
                      <a:pt x="0" y="95"/>
                    </a:cubicBezTo>
                    <a:lnTo>
                      <a:pt x="0" y="84868"/>
                    </a:lnTo>
                    <a:lnTo>
                      <a:pt x="19717" y="84868"/>
                    </a:lnTo>
                    <a:lnTo>
                      <a:pt x="19717" y="43148"/>
                    </a:lnTo>
                    <a:cubicBezTo>
                      <a:pt x="36100" y="57721"/>
                      <a:pt x="53721" y="74009"/>
                      <a:pt x="71818" y="89440"/>
                    </a:cubicBezTo>
                    <a:lnTo>
                      <a:pt x="71818" y="4667"/>
                    </a:lnTo>
                    <a:lnTo>
                      <a:pt x="71818" y="466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EFEC6E8B-D6B4-648C-45E1-10591DAE5225}"/>
                </a:ext>
              </a:extLst>
            </p:cNvPr>
            <p:cNvGrpSpPr/>
            <p:nvPr/>
          </p:nvGrpSpPr>
          <p:grpSpPr>
            <a:xfrm>
              <a:off x="1417122" y="5990048"/>
              <a:ext cx="568928" cy="219551"/>
              <a:chOff x="1417122" y="5990048"/>
              <a:chExt cx="568928" cy="219551"/>
            </a:xfrm>
          </p:grpSpPr>
          <p:sp>
            <p:nvSpPr>
              <p:cNvPr id="1077" name="Freihandform: Form 505">
                <a:extLst>
                  <a:ext uri="{FF2B5EF4-FFF2-40B4-BE49-F238E27FC236}">
                    <a16:creationId xmlns:a16="http://schemas.microsoft.com/office/drawing/2014/main" id="{297A4649-5DDB-5F91-E718-1DFCA040F66D}"/>
                  </a:ext>
                </a:extLst>
              </p:cNvPr>
              <p:cNvSpPr/>
              <p:nvPr/>
            </p:nvSpPr>
            <p:spPr>
              <a:xfrm>
                <a:off x="1417122" y="5990048"/>
                <a:ext cx="568928" cy="219551"/>
              </a:xfrm>
              <a:custGeom>
                <a:avLst/>
                <a:gdLst>
                  <a:gd name="connsiteX0" fmla="*/ 284512 w 568928"/>
                  <a:gd name="connsiteY0" fmla="*/ 219551 h 219551"/>
                  <a:gd name="connsiteX1" fmla="*/ 137827 w 568928"/>
                  <a:gd name="connsiteY1" fmla="*/ 202121 h 219551"/>
                  <a:gd name="connsiteX2" fmla="*/ 3619 w 568928"/>
                  <a:gd name="connsiteY2" fmla="*/ 152686 h 219551"/>
                  <a:gd name="connsiteX3" fmla="*/ 0 w 568928"/>
                  <a:gd name="connsiteY3" fmla="*/ 150876 h 219551"/>
                  <a:gd name="connsiteX4" fmla="*/ 0 w 568928"/>
                  <a:gd name="connsiteY4" fmla="*/ 0 h 219551"/>
                  <a:gd name="connsiteX5" fmla="*/ 568928 w 568928"/>
                  <a:gd name="connsiteY5" fmla="*/ 0 h 219551"/>
                  <a:gd name="connsiteX6" fmla="*/ 568928 w 568928"/>
                  <a:gd name="connsiteY6" fmla="*/ 150876 h 219551"/>
                  <a:gd name="connsiteX7" fmla="*/ 565309 w 568928"/>
                  <a:gd name="connsiteY7" fmla="*/ 152686 h 219551"/>
                  <a:gd name="connsiteX8" fmla="*/ 431101 w 568928"/>
                  <a:gd name="connsiteY8" fmla="*/ 202121 h 219551"/>
                  <a:gd name="connsiteX9" fmla="*/ 284417 w 568928"/>
                  <a:gd name="connsiteY9" fmla="*/ 219551 h 219551"/>
                  <a:gd name="connsiteX10" fmla="*/ 284417 w 568928"/>
                  <a:gd name="connsiteY10" fmla="*/ 219551 h 219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68928" h="219551">
                    <a:moveTo>
                      <a:pt x="284512" y="219551"/>
                    </a:moveTo>
                    <a:cubicBezTo>
                      <a:pt x="234887" y="219551"/>
                      <a:pt x="185547" y="213741"/>
                      <a:pt x="137827" y="202121"/>
                    </a:cubicBezTo>
                    <a:cubicBezTo>
                      <a:pt x="91440" y="190881"/>
                      <a:pt x="46292" y="174308"/>
                      <a:pt x="3619" y="152686"/>
                    </a:cubicBezTo>
                    <a:lnTo>
                      <a:pt x="0" y="150876"/>
                    </a:lnTo>
                    <a:lnTo>
                      <a:pt x="0" y="0"/>
                    </a:lnTo>
                    <a:lnTo>
                      <a:pt x="568928" y="0"/>
                    </a:lnTo>
                    <a:lnTo>
                      <a:pt x="568928" y="150876"/>
                    </a:lnTo>
                    <a:lnTo>
                      <a:pt x="565309" y="152686"/>
                    </a:lnTo>
                    <a:cubicBezTo>
                      <a:pt x="522637" y="174308"/>
                      <a:pt x="477488" y="190976"/>
                      <a:pt x="431101" y="202121"/>
                    </a:cubicBezTo>
                    <a:cubicBezTo>
                      <a:pt x="383381" y="213646"/>
                      <a:pt x="334042" y="219551"/>
                      <a:pt x="284417" y="219551"/>
                    </a:cubicBezTo>
                    <a:lnTo>
                      <a:pt x="284417" y="21955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78" name="Freihandform: Form 506">
                <a:extLst>
                  <a:ext uri="{FF2B5EF4-FFF2-40B4-BE49-F238E27FC236}">
                    <a16:creationId xmlns:a16="http://schemas.microsoft.com/office/drawing/2014/main" id="{765DACA1-F396-1313-D1E2-A5902D70713E}"/>
                  </a:ext>
                </a:extLst>
              </p:cNvPr>
              <p:cNvSpPr/>
              <p:nvPr/>
            </p:nvSpPr>
            <p:spPr>
              <a:xfrm>
                <a:off x="1423789" y="6127493"/>
                <a:ext cx="555688" cy="75628"/>
              </a:xfrm>
              <a:custGeom>
                <a:avLst/>
                <a:gdLst>
                  <a:gd name="connsiteX0" fmla="*/ 277844 w 555688"/>
                  <a:gd name="connsiteY0" fmla="*/ 51149 h 75628"/>
                  <a:gd name="connsiteX1" fmla="*/ 0 w 555688"/>
                  <a:gd name="connsiteY1" fmla="*/ 0 h 75628"/>
                  <a:gd name="connsiteX2" fmla="*/ 0 w 555688"/>
                  <a:gd name="connsiteY2" fmla="*/ 9430 h 75628"/>
                  <a:gd name="connsiteX3" fmla="*/ 277844 w 555688"/>
                  <a:gd name="connsiteY3" fmla="*/ 75628 h 75628"/>
                  <a:gd name="connsiteX4" fmla="*/ 555688 w 555688"/>
                  <a:gd name="connsiteY4" fmla="*/ 9430 h 75628"/>
                  <a:gd name="connsiteX5" fmla="*/ 555688 w 555688"/>
                  <a:gd name="connsiteY5" fmla="*/ 0 h 75628"/>
                  <a:gd name="connsiteX6" fmla="*/ 277844 w 555688"/>
                  <a:gd name="connsiteY6" fmla="*/ 51149 h 75628"/>
                  <a:gd name="connsiteX7" fmla="*/ 277844 w 555688"/>
                  <a:gd name="connsiteY7" fmla="*/ 51149 h 75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688" h="75628">
                    <a:moveTo>
                      <a:pt x="277844" y="51149"/>
                    </a:moveTo>
                    <a:cubicBezTo>
                      <a:pt x="179927" y="51149"/>
                      <a:pt x="86201" y="33052"/>
                      <a:pt x="0" y="0"/>
                    </a:cubicBezTo>
                    <a:lnTo>
                      <a:pt x="0" y="9430"/>
                    </a:lnTo>
                    <a:cubicBezTo>
                      <a:pt x="83439" y="51721"/>
                      <a:pt x="177927" y="75628"/>
                      <a:pt x="277844" y="75628"/>
                    </a:cubicBezTo>
                    <a:cubicBezTo>
                      <a:pt x="377762" y="75628"/>
                      <a:pt x="472250" y="51816"/>
                      <a:pt x="555688" y="9430"/>
                    </a:cubicBezTo>
                    <a:lnTo>
                      <a:pt x="555688" y="0"/>
                    </a:lnTo>
                    <a:cubicBezTo>
                      <a:pt x="469392" y="33052"/>
                      <a:pt x="375761" y="51149"/>
                      <a:pt x="277844" y="51149"/>
                    </a:cubicBezTo>
                    <a:lnTo>
                      <a:pt x="277844" y="51149"/>
                    </a:lnTo>
                    <a:close/>
                  </a:path>
                </a:pathLst>
              </a:custGeom>
              <a:solidFill>
                <a:srgbClr val="C018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79" name="Freihandform: Form 507">
                <a:extLst>
                  <a:ext uri="{FF2B5EF4-FFF2-40B4-BE49-F238E27FC236}">
                    <a16:creationId xmlns:a16="http://schemas.microsoft.com/office/drawing/2014/main" id="{E5167498-4B5A-12E1-18FA-32047467D4BE}"/>
                  </a:ext>
                </a:extLst>
              </p:cNvPr>
              <p:cNvSpPr/>
              <p:nvPr/>
            </p:nvSpPr>
            <p:spPr>
              <a:xfrm>
                <a:off x="1423789" y="5996620"/>
                <a:ext cx="555783" cy="171830"/>
              </a:xfrm>
              <a:custGeom>
                <a:avLst/>
                <a:gdLst>
                  <a:gd name="connsiteX0" fmla="*/ 555784 w 555783"/>
                  <a:gd name="connsiteY0" fmla="*/ 121730 h 171830"/>
                  <a:gd name="connsiteX1" fmla="*/ 555784 w 555783"/>
                  <a:gd name="connsiteY1" fmla="*/ 0 h 171830"/>
                  <a:gd name="connsiteX2" fmla="*/ 0 w 555783"/>
                  <a:gd name="connsiteY2" fmla="*/ 0 h 171830"/>
                  <a:gd name="connsiteX3" fmla="*/ 0 w 555783"/>
                  <a:gd name="connsiteY3" fmla="*/ 121730 h 171830"/>
                  <a:gd name="connsiteX4" fmla="*/ 277844 w 555783"/>
                  <a:gd name="connsiteY4" fmla="*/ 171831 h 171830"/>
                  <a:gd name="connsiteX5" fmla="*/ 555688 w 555783"/>
                  <a:gd name="connsiteY5" fmla="*/ 121730 h 171830"/>
                  <a:gd name="connsiteX6" fmla="*/ 555688 w 555783"/>
                  <a:gd name="connsiteY6" fmla="*/ 121730 h 171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5783" h="171830">
                    <a:moveTo>
                      <a:pt x="555784" y="121730"/>
                    </a:moveTo>
                    <a:lnTo>
                      <a:pt x="555784" y="0"/>
                    </a:lnTo>
                    <a:lnTo>
                      <a:pt x="0" y="0"/>
                    </a:lnTo>
                    <a:lnTo>
                      <a:pt x="0" y="121730"/>
                    </a:lnTo>
                    <a:cubicBezTo>
                      <a:pt x="86487" y="154115"/>
                      <a:pt x="180118" y="171831"/>
                      <a:pt x="277844" y="171831"/>
                    </a:cubicBezTo>
                    <a:cubicBezTo>
                      <a:pt x="375571" y="171831"/>
                      <a:pt x="469297" y="154115"/>
                      <a:pt x="555688" y="121730"/>
                    </a:cubicBezTo>
                    <a:lnTo>
                      <a:pt x="555688" y="121730"/>
                    </a:lnTo>
                    <a:close/>
                  </a:path>
                </a:pathLst>
              </a:custGeom>
              <a:solidFill>
                <a:srgbClr val="252F6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0" name="Freihandform: Form 508">
                <a:extLst>
                  <a:ext uri="{FF2B5EF4-FFF2-40B4-BE49-F238E27FC236}">
                    <a16:creationId xmlns:a16="http://schemas.microsoft.com/office/drawing/2014/main" id="{8989D20B-C167-70D5-B65B-8DD479AD8675}"/>
                  </a:ext>
                </a:extLst>
              </p:cNvPr>
              <p:cNvSpPr/>
              <p:nvPr/>
            </p:nvSpPr>
            <p:spPr>
              <a:xfrm>
                <a:off x="1911469" y="6042149"/>
                <a:ext cx="28765" cy="56959"/>
              </a:xfrm>
              <a:custGeom>
                <a:avLst/>
                <a:gdLst>
                  <a:gd name="connsiteX0" fmla="*/ 7906 w 28765"/>
                  <a:gd name="connsiteY0" fmla="*/ 45339 h 56959"/>
                  <a:gd name="connsiteX1" fmla="*/ 21050 w 28765"/>
                  <a:gd name="connsiteY1" fmla="*/ 56960 h 56959"/>
                  <a:gd name="connsiteX2" fmla="*/ 28766 w 28765"/>
                  <a:gd name="connsiteY2" fmla="*/ 56388 h 56959"/>
                  <a:gd name="connsiteX3" fmla="*/ 28766 w 28765"/>
                  <a:gd name="connsiteY3" fmla="*/ 48197 h 56959"/>
                  <a:gd name="connsiteX4" fmla="*/ 22098 w 28765"/>
                  <a:gd name="connsiteY4" fmla="*/ 48768 h 56959"/>
                  <a:gd name="connsiteX5" fmla="*/ 17812 w 28765"/>
                  <a:gd name="connsiteY5" fmla="*/ 44577 h 56959"/>
                  <a:gd name="connsiteX6" fmla="*/ 17812 w 28765"/>
                  <a:gd name="connsiteY6" fmla="*/ 20479 h 56959"/>
                  <a:gd name="connsiteX7" fmla="*/ 28766 w 28765"/>
                  <a:gd name="connsiteY7" fmla="*/ 20479 h 56959"/>
                  <a:gd name="connsiteX8" fmla="*/ 28766 w 28765"/>
                  <a:gd name="connsiteY8" fmla="*/ 12383 h 56959"/>
                  <a:gd name="connsiteX9" fmla="*/ 17812 w 28765"/>
                  <a:gd name="connsiteY9" fmla="*/ 12383 h 56959"/>
                  <a:gd name="connsiteX10" fmla="*/ 17812 w 28765"/>
                  <a:gd name="connsiteY10" fmla="*/ 0 h 56959"/>
                  <a:gd name="connsiteX11" fmla="*/ 7906 w 28765"/>
                  <a:gd name="connsiteY11" fmla="*/ 0 h 56959"/>
                  <a:gd name="connsiteX12" fmla="*/ 7906 w 28765"/>
                  <a:gd name="connsiteY12" fmla="*/ 12383 h 56959"/>
                  <a:gd name="connsiteX13" fmla="*/ 0 w 28765"/>
                  <a:gd name="connsiteY13" fmla="*/ 12383 h 56959"/>
                  <a:gd name="connsiteX14" fmla="*/ 0 w 28765"/>
                  <a:gd name="connsiteY14" fmla="*/ 20479 h 56959"/>
                  <a:gd name="connsiteX15" fmla="*/ 7906 w 28765"/>
                  <a:gd name="connsiteY15" fmla="*/ 20479 h 56959"/>
                  <a:gd name="connsiteX16" fmla="*/ 7906 w 28765"/>
                  <a:gd name="connsiteY16" fmla="*/ 45339 h 56959"/>
                  <a:gd name="connsiteX17" fmla="*/ 7906 w 28765"/>
                  <a:gd name="connsiteY17" fmla="*/ 45339 h 56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8765" h="56959">
                    <a:moveTo>
                      <a:pt x="7906" y="45339"/>
                    </a:moveTo>
                    <a:cubicBezTo>
                      <a:pt x="7906" y="52388"/>
                      <a:pt x="10573" y="56960"/>
                      <a:pt x="21050" y="56960"/>
                    </a:cubicBezTo>
                    <a:cubicBezTo>
                      <a:pt x="24860" y="56960"/>
                      <a:pt x="28766" y="56388"/>
                      <a:pt x="28766" y="56388"/>
                    </a:cubicBezTo>
                    <a:lnTo>
                      <a:pt x="28766" y="48197"/>
                    </a:lnTo>
                    <a:cubicBezTo>
                      <a:pt x="27051" y="48387"/>
                      <a:pt x="24384" y="48768"/>
                      <a:pt x="22098" y="48768"/>
                    </a:cubicBezTo>
                    <a:cubicBezTo>
                      <a:pt x="18669" y="48768"/>
                      <a:pt x="17812" y="47054"/>
                      <a:pt x="17812" y="44577"/>
                    </a:cubicBezTo>
                    <a:lnTo>
                      <a:pt x="17812" y="20479"/>
                    </a:lnTo>
                    <a:lnTo>
                      <a:pt x="28766" y="20479"/>
                    </a:lnTo>
                    <a:lnTo>
                      <a:pt x="28766" y="12383"/>
                    </a:lnTo>
                    <a:lnTo>
                      <a:pt x="17812" y="12383"/>
                    </a:lnTo>
                    <a:lnTo>
                      <a:pt x="17812" y="0"/>
                    </a:lnTo>
                    <a:lnTo>
                      <a:pt x="7906" y="0"/>
                    </a:lnTo>
                    <a:lnTo>
                      <a:pt x="7906" y="12383"/>
                    </a:lnTo>
                    <a:lnTo>
                      <a:pt x="0" y="12383"/>
                    </a:lnTo>
                    <a:lnTo>
                      <a:pt x="0" y="20479"/>
                    </a:lnTo>
                    <a:lnTo>
                      <a:pt x="7906" y="20479"/>
                    </a:lnTo>
                    <a:lnTo>
                      <a:pt x="7906" y="45339"/>
                    </a:lnTo>
                    <a:lnTo>
                      <a:pt x="7906" y="45339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1" name="Freihandform: Form 509">
                <a:extLst>
                  <a:ext uri="{FF2B5EF4-FFF2-40B4-BE49-F238E27FC236}">
                    <a16:creationId xmlns:a16="http://schemas.microsoft.com/office/drawing/2014/main" id="{A3F630BD-45E9-3346-B6B9-262E155F86DE}"/>
                  </a:ext>
                </a:extLst>
              </p:cNvPr>
              <p:cNvSpPr/>
              <p:nvPr/>
            </p:nvSpPr>
            <p:spPr>
              <a:xfrm>
                <a:off x="1865559" y="6053389"/>
                <a:ext cx="44100" cy="45720"/>
              </a:xfrm>
              <a:custGeom>
                <a:avLst/>
                <a:gdLst>
                  <a:gd name="connsiteX0" fmla="*/ 22574 w 44100"/>
                  <a:gd name="connsiteY0" fmla="*/ 37529 h 45720"/>
                  <a:gd name="connsiteX1" fmla="*/ 4477 w 44100"/>
                  <a:gd name="connsiteY1" fmla="*/ 32957 h 45720"/>
                  <a:gd name="connsiteX2" fmla="*/ 0 w 44100"/>
                  <a:gd name="connsiteY2" fmla="*/ 40481 h 45720"/>
                  <a:gd name="connsiteX3" fmla="*/ 22193 w 44100"/>
                  <a:gd name="connsiteY3" fmla="*/ 45720 h 45720"/>
                  <a:gd name="connsiteX4" fmla="*/ 44101 w 44100"/>
                  <a:gd name="connsiteY4" fmla="*/ 31147 h 45720"/>
                  <a:gd name="connsiteX5" fmla="*/ 10763 w 44100"/>
                  <a:gd name="connsiteY5" fmla="*/ 12668 h 45720"/>
                  <a:gd name="connsiteX6" fmla="*/ 20764 w 44100"/>
                  <a:gd name="connsiteY6" fmla="*/ 8096 h 45720"/>
                  <a:gd name="connsiteX7" fmla="*/ 37147 w 44100"/>
                  <a:gd name="connsiteY7" fmla="*/ 12478 h 45720"/>
                  <a:gd name="connsiteX8" fmla="*/ 41434 w 44100"/>
                  <a:gd name="connsiteY8" fmla="*/ 5239 h 45720"/>
                  <a:gd name="connsiteX9" fmla="*/ 20860 w 44100"/>
                  <a:gd name="connsiteY9" fmla="*/ 0 h 45720"/>
                  <a:gd name="connsiteX10" fmla="*/ 1143 w 44100"/>
                  <a:gd name="connsiteY10" fmla="*/ 12954 h 45720"/>
                  <a:gd name="connsiteX11" fmla="*/ 34480 w 44100"/>
                  <a:gd name="connsiteY11" fmla="*/ 31718 h 45720"/>
                  <a:gd name="connsiteX12" fmla="*/ 22574 w 44100"/>
                  <a:gd name="connsiteY12" fmla="*/ 37624 h 45720"/>
                  <a:gd name="connsiteX13" fmla="*/ 22574 w 44100"/>
                  <a:gd name="connsiteY13" fmla="*/ 37624 h 45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4100" h="45720">
                    <a:moveTo>
                      <a:pt x="22574" y="37529"/>
                    </a:moveTo>
                    <a:cubicBezTo>
                      <a:pt x="11525" y="37529"/>
                      <a:pt x="4477" y="32957"/>
                      <a:pt x="4477" y="32957"/>
                    </a:cubicBezTo>
                    <a:lnTo>
                      <a:pt x="0" y="40481"/>
                    </a:lnTo>
                    <a:cubicBezTo>
                      <a:pt x="4667" y="43148"/>
                      <a:pt x="11144" y="45720"/>
                      <a:pt x="22193" y="45720"/>
                    </a:cubicBezTo>
                    <a:cubicBezTo>
                      <a:pt x="34766" y="45720"/>
                      <a:pt x="44101" y="40672"/>
                      <a:pt x="44101" y="31147"/>
                    </a:cubicBezTo>
                    <a:cubicBezTo>
                      <a:pt x="44101" y="12478"/>
                      <a:pt x="10763" y="22289"/>
                      <a:pt x="10763" y="12668"/>
                    </a:cubicBezTo>
                    <a:cubicBezTo>
                      <a:pt x="10763" y="10382"/>
                      <a:pt x="13430" y="8096"/>
                      <a:pt x="20764" y="8096"/>
                    </a:cubicBezTo>
                    <a:cubicBezTo>
                      <a:pt x="30575" y="8096"/>
                      <a:pt x="37147" y="12478"/>
                      <a:pt x="37147" y="12478"/>
                    </a:cubicBezTo>
                    <a:lnTo>
                      <a:pt x="41434" y="5239"/>
                    </a:lnTo>
                    <a:cubicBezTo>
                      <a:pt x="39719" y="4191"/>
                      <a:pt x="32671" y="0"/>
                      <a:pt x="20860" y="0"/>
                    </a:cubicBezTo>
                    <a:cubicBezTo>
                      <a:pt x="9049" y="0"/>
                      <a:pt x="1143" y="4572"/>
                      <a:pt x="1143" y="12954"/>
                    </a:cubicBezTo>
                    <a:cubicBezTo>
                      <a:pt x="1143" y="31909"/>
                      <a:pt x="34480" y="22193"/>
                      <a:pt x="34480" y="31718"/>
                    </a:cubicBezTo>
                    <a:cubicBezTo>
                      <a:pt x="34480" y="35433"/>
                      <a:pt x="29432" y="37624"/>
                      <a:pt x="22574" y="37624"/>
                    </a:cubicBezTo>
                    <a:lnTo>
                      <a:pt x="22574" y="37624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2" name="Freihandform: Form 510">
                <a:extLst>
                  <a:ext uri="{FF2B5EF4-FFF2-40B4-BE49-F238E27FC236}">
                    <a16:creationId xmlns:a16="http://schemas.microsoft.com/office/drawing/2014/main" id="{B8155095-05C9-555C-B73E-132C7C03E74A}"/>
                  </a:ext>
                </a:extLst>
              </p:cNvPr>
              <p:cNvSpPr/>
              <p:nvPr/>
            </p:nvSpPr>
            <p:spPr>
              <a:xfrm>
                <a:off x="1635530" y="6053389"/>
                <a:ext cx="44100" cy="45720"/>
              </a:xfrm>
              <a:custGeom>
                <a:avLst/>
                <a:gdLst>
                  <a:gd name="connsiteX0" fmla="*/ 22574 w 44100"/>
                  <a:gd name="connsiteY0" fmla="*/ 37529 h 45720"/>
                  <a:gd name="connsiteX1" fmla="*/ 4477 w 44100"/>
                  <a:gd name="connsiteY1" fmla="*/ 32957 h 45720"/>
                  <a:gd name="connsiteX2" fmla="*/ 0 w 44100"/>
                  <a:gd name="connsiteY2" fmla="*/ 40481 h 45720"/>
                  <a:gd name="connsiteX3" fmla="*/ 22193 w 44100"/>
                  <a:gd name="connsiteY3" fmla="*/ 45720 h 45720"/>
                  <a:gd name="connsiteX4" fmla="*/ 44101 w 44100"/>
                  <a:gd name="connsiteY4" fmla="*/ 31147 h 45720"/>
                  <a:gd name="connsiteX5" fmla="*/ 10763 w 44100"/>
                  <a:gd name="connsiteY5" fmla="*/ 12668 h 45720"/>
                  <a:gd name="connsiteX6" fmla="*/ 20765 w 44100"/>
                  <a:gd name="connsiteY6" fmla="*/ 8096 h 45720"/>
                  <a:gd name="connsiteX7" fmla="*/ 37148 w 44100"/>
                  <a:gd name="connsiteY7" fmla="*/ 12478 h 45720"/>
                  <a:gd name="connsiteX8" fmla="*/ 41434 w 44100"/>
                  <a:gd name="connsiteY8" fmla="*/ 5239 h 45720"/>
                  <a:gd name="connsiteX9" fmla="*/ 20860 w 44100"/>
                  <a:gd name="connsiteY9" fmla="*/ 0 h 45720"/>
                  <a:gd name="connsiteX10" fmla="*/ 1143 w 44100"/>
                  <a:gd name="connsiteY10" fmla="*/ 12954 h 45720"/>
                  <a:gd name="connsiteX11" fmla="*/ 34481 w 44100"/>
                  <a:gd name="connsiteY11" fmla="*/ 31718 h 45720"/>
                  <a:gd name="connsiteX12" fmla="*/ 22574 w 44100"/>
                  <a:gd name="connsiteY12" fmla="*/ 37624 h 45720"/>
                  <a:gd name="connsiteX13" fmla="*/ 22574 w 44100"/>
                  <a:gd name="connsiteY13" fmla="*/ 37624 h 45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4100" h="45720">
                    <a:moveTo>
                      <a:pt x="22574" y="37529"/>
                    </a:moveTo>
                    <a:cubicBezTo>
                      <a:pt x="11525" y="37529"/>
                      <a:pt x="4477" y="32957"/>
                      <a:pt x="4477" y="32957"/>
                    </a:cubicBezTo>
                    <a:lnTo>
                      <a:pt x="0" y="40481"/>
                    </a:lnTo>
                    <a:cubicBezTo>
                      <a:pt x="4667" y="43148"/>
                      <a:pt x="11144" y="45720"/>
                      <a:pt x="22193" y="45720"/>
                    </a:cubicBezTo>
                    <a:cubicBezTo>
                      <a:pt x="34766" y="45720"/>
                      <a:pt x="44101" y="40672"/>
                      <a:pt x="44101" y="31147"/>
                    </a:cubicBezTo>
                    <a:cubicBezTo>
                      <a:pt x="44101" y="12478"/>
                      <a:pt x="10763" y="22289"/>
                      <a:pt x="10763" y="12668"/>
                    </a:cubicBezTo>
                    <a:cubicBezTo>
                      <a:pt x="10763" y="10382"/>
                      <a:pt x="13430" y="8096"/>
                      <a:pt x="20765" y="8096"/>
                    </a:cubicBezTo>
                    <a:cubicBezTo>
                      <a:pt x="30575" y="8096"/>
                      <a:pt x="37148" y="12478"/>
                      <a:pt x="37148" y="12478"/>
                    </a:cubicBezTo>
                    <a:lnTo>
                      <a:pt x="41434" y="5239"/>
                    </a:lnTo>
                    <a:cubicBezTo>
                      <a:pt x="39719" y="4191"/>
                      <a:pt x="32671" y="0"/>
                      <a:pt x="20860" y="0"/>
                    </a:cubicBezTo>
                    <a:cubicBezTo>
                      <a:pt x="9049" y="0"/>
                      <a:pt x="1143" y="4572"/>
                      <a:pt x="1143" y="12954"/>
                    </a:cubicBezTo>
                    <a:cubicBezTo>
                      <a:pt x="1143" y="31909"/>
                      <a:pt x="34481" y="22193"/>
                      <a:pt x="34481" y="31718"/>
                    </a:cubicBezTo>
                    <a:cubicBezTo>
                      <a:pt x="34481" y="35433"/>
                      <a:pt x="29432" y="37624"/>
                      <a:pt x="22574" y="37624"/>
                    </a:cubicBezTo>
                    <a:lnTo>
                      <a:pt x="22574" y="37624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3" name="Freihandform: Form 511">
                <a:extLst>
                  <a:ext uri="{FF2B5EF4-FFF2-40B4-BE49-F238E27FC236}">
                    <a16:creationId xmlns:a16="http://schemas.microsoft.com/office/drawing/2014/main" id="{7401477B-C957-1673-D936-B9D51CE7AD05}"/>
                  </a:ext>
                </a:extLst>
              </p:cNvPr>
              <p:cNvSpPr/>
              <p:nvPr/>
            </p:nvSpPr>
            <p:spPr>
              <a:xfrm>
                <a:off x="1529517" y="6053389"/>
                <a:ext cx="42957" cy="45815"/>
              </a:xfrm>
              <a:custGeom>
                <a:avLst/>
                <a:gdLst>
                  <a:gd name="connsiteX0" fmla="*/ 33718 w 42957"/>
                  <a:gd name="connsiteY0" fmla="*/ 30194 h 45815"/>
                  <a:gd name="connsiteX1" fmla="*/ 19717 w 42957"/>
                  <a:gd name="connsiteY1" fmla="*/ 37909 h 45815"/>
                  <a:gd name="connsiteX2" fmla="*/ 9620 w 42957"/>
                  <a:gd name="connsiteY2" fmla="*/ 32004 h 45815"/>
                  <a:gd name="connsiteX3" fmla="*/ 21622 w 42957"/>
                  <a:gd name="connsiteY3" fmla="*/ 25908 h 45815"/>
                  <a:gd name="connsiteX4" fmla="*/ 33718 w 42957"/>
                  <a:gd name="connsiteY4" fmla="*/ 23527 h 45815"/>
                  <a:gd name="connsiteX5" fmla="*/ 33718 w 42957"/>
                  <a:gd name="connsiteY5" fmla="*/ 30194 h 45815"/>
                  <a:gd name="connsiteX6" fmla="*/ 33718 w 42957"/>
                  <a:gd name="connsiteY6" fmla="*/ 30194 h 45815"/>
                  <a:gd name="connsiteX7" fmla="*/ 21812 w 42957"/>
                  <a:gd name="connsiteY7" fmla="*/ 18193 h 45815"/>
                  <a:gd name="connsiteX8" fmla="*/ 0 w 42957"/>
                  <a:gd name="connsiteY8" fmla="*/ 31814 h 45815"/>
                  <a:gd name="connsiteX9" fmla="*/ 18288 w 42957"/>
                  <a:gd name="connsiteY9" fmla="*/ 45815 h 45815"/>
                  <a:gd name="connsiteX10" fmla="*/ 33718 w 42957"/>
                  <a:gd name="connsiteY10" fmla="*/ 40577 h 45815"/>
                  <a:gd name="connsiteX11" fmla="*/ 33909 w 42957"/>
                  <a:gd name="connsiteY11" fmla="*/ 44577 h 45815"/>
                  <a:gd name="connsiteX12" fmla="*/ 42958 w 42957"/>
                  <a:gd name="connsiteY12" fmla="*/ 44577 h 45815"/>
                  <a:gd name="connsiteX13" fmla="*/ 42958 w 42957"/>
                  <a:gd name="connsiteY13" fmla="*/ 13716 h 45815"/>
                  <a:gd name="connsiteX14" fmla="*/ 22955 w 42957"/>
                  <a:gd name="connsiteY14" fmla="*/ 0 h 45815"/>
                  <a:gd name="connsiteX15" fmla="*/ 2667 w 42957"/>
                  <a:gd name="connsiteY15" fmla="*/ 5239 h 45815"/>
                  <a:gd name="connsiteX16" fmla="*/ 6858 w 42957"/>
                  <a:gd name="connsiteY16" fmla="*/ 12478 h 45815"/>
                  <a:gd name="connsiteX17" fmla="*/ 22574 w 42957"/>
                  <a:gd name="connsiteY17" fmla="*/ 8096 h 45815"/>
                  <a:gd name="connsiteX18" fmla="*/ 33623 w 42957"/>
                  <a:gd name="connsiteY18" fmla="*/ 13526 h 45815"/>
                  <a:gd name="connsiteX19" fmla="*/ 21717 w 42957"/>
                  <a:gd name="connsiteY19" fmla="*/ 18288 h 45815"/>
                  <a:gd name="connsiteX20" fmla="*/ 21717 w 42957"/>
                  <a:gd name="connsiteY20" fmla="*/ 18288 h 45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2957" h="45815">
                    <a:moveTo>
                      <a:pt x="33718" y="30194"/>
                    </a:moveTo>
                    <a:cubicBezTo>
                      <a:pt x="33718" y="34957"/>
                      <a:pt x="27718" y="37909"/>
                      <a:pt x="19717" y="37909"/>
                    </a:cubicBezTo>
                    <a:cubicBezTo>
                      <a:pt x="12859" y="37909"/>
                      <a:pt x="9620" y="36005"/>
                      <a:pt x="9620" y="32004"/>
                    </a:cubicBezTo>
                    <a:cubicBezTo>
                      <a:pt x="9620" y="27432"/>
                      <a:pt x="13144" y="26194"/>
                      <a:pt x="21622" y="25908"/>
                    </a:cubicBezTo>
                    <a:cubicBezTo>
                      <a:pt x="31337" y="25432"/>
                      <a:pt x="33718" y="23527"/>
                      <a:pt x="33718" y="23527"/>
                    </a:cubicBezTo>
                    <a:lnTo>
                      <a:pt x="33718" y="30194"/>
                    </a:lnTo>
                    <a:lnTo>
                      <a:pt x="33718" y="30194"/>
                    </a:lnTo>
                    <a:close/>
                    <a:moveTo>
                      <a:pt x="21812" y="18193"/>
                    </a:moveTo>
                    <a:cubicBezTo>
                      <a:pt x="12573" y="18669"/>
                      <a:pt x="0" y="19431"/>
                      <a:pt x="0" y="31814"/>
                    </a:cubicBezTo>
                    <a:cubicBezTo>
                      <a:pt x="0" y="40291"/>
                      <a:pt x="5524" y="45815"/>
                      <a:pt x="18288" y="45815"/>
                    </a:cubicBezTo>
                    <a:cubicBezTo>
                      <a:pt x="28575" y="45815"/>
                      <a:pt x="33718" y="40577"/>
                      <a:pt x="33718" y="40577"/>
                    </a:cubicBezTo>
                    <a:lnTo>
                      <a:pt x="33909" y="44577"/>
                    </a:lnTo>
                    <a:lnTo>
                      <a:pt x="42958" y="44577"/>
                    </a:lnTo>
                    <a:lnTo>
                      <a:pt x="42958" y="13716"/>
                    </a:lnTo>
                    <a:cubicBezTo>
                      <a:pt x="42958" y="3524"/>
                      <a:pt x="34480" y="0"/>
                      <a:pt x="22955" y="0"/>
                    </a:cubicBezTo>
                    <a:cubicBezTo>
                      <a:pt x="10668" y="0"/>
                      <a:pt x="2667" y="5239"/>
                      <a:pt x="2667" y="5239"/>
                    </a:cubicBezTo>
                    <a:lnTo>
                      <a:pt x="6858" y="12478"/>
                    </a:lnTo>
                    <a:cubicBezTo>
                      <a:pt x="6858" y="12478"/>
                      <a:pt x="13335" y="8096"/>
                      <a:pt x="22574" y="8096"/>
                    </a:cubicBezTo>
                    <a:cubicBezTo>
                      <a:pt x="28765" y="8096"/>
                      <a:pt x="33623" y="9620"/>
                      <a:pt x="33623" y="13526"/>
                    </a:cubicBezTo>
                    <a:cubicBezTo>
                      <a:pt x="33623" y="16955"/>
                      <a:pt x="31337" y="17812"/>
                      <a:pt x="21717" y="18288"/>
                    </a:cubicBezTo>
                    <a:lnTo>
                      <a:pt x="21717" y="1828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4" name="Freihandform: Form 512">
                <a:extLst>
                  <a:ext uri="{FF2B5EF4-FFF2-40B4-BE49-F238E27FC236}">
                    <a16:creationId xmlns:a16="http://schemas.microsoft.com/office/drawing/2014/main" id="{A6515FFF-D801-D77E-D1F3-54DDF6D1E50C}"/>
                  </a:ext>
                </a:extLst>
              </p:cNvPr>
              <p:cNvSpPr/>
              <p:nvPr/>
            </p:nvSpPr>
            <p:spPr>
              <a:xfrm>
                <a:off x="1686203" y="6053389"/>
                <a:ext cx="42957" cy="45815"/>
              </a:xfrm>
              <a:custGeom>
                <a:avLst/>
                <a:gdLst>
                  <a:gd name="connsiteX0" fmla="*/ 33718 w 42957"/>
                  <a:gd name="connsiteY0" fmla="*/ 30194 h 45815"/>
                  <a:gd name="connsiteX1" fmla="*/ 19717 w 42957"/>
                  <a:gd name="connsiteY1" fmla="*/ 37909 h 45815"/>
                  <a:gd name="connsiteX2" fmla="*/ 9620 w 42957"/>
                  <a:gd name="connsiteY2" fmla="*/ 32004 h 45815"/>
                  <a:gd name="connsiteX3" fmla="*/ 21622 w 42957"/>
                  <a:gd name="connsiteY3" fmla="*/ 25908 h 45815"/>
                  <a:gd name="connsiteX4" fmla="*/ 33718 w 42957"/>
                  <a:gd name="connsiteY4" fmla="*/ 23527 h 45815"/>
                  <a:gd name="connsiteX5" fmla="*/ 33718 w 42957"/>
                  <a:gd name="connsiteY5" fmla="*/ 30194 h 45815"/>
                  <a:gd name="connsiteX6" fmla="*/ 33718 w 42957"/>
                  <a:gd name="connsiteY6" fmla="*/ 30194 h 45815"/>
                  <a:gd name="connsiteX7" fmla="*/ 21812 w 42957"/>
                  <a:gd name="connsiteY7" fmla="*/ 18193 h 45815"/>
                  <a:gd name="connsiteX8" fmla="*/ 0 w 42957"/>
                  <a:gd name="connsiteY8" fmla="*/ 31814 h 45815"/>
                  <a:gd name="connsiteX9" fmla="*/ 18288 w 42957"/>
                  <a:gd name="connsiteY9" fmla="*/ 45815 h 45815"/>
                  <a:gd name="connsiteX10" fmla="*/ 33718 w 42957"/>
                  <a:gd name="connsiteY10" fmla="*/ 40577 h 45815"/>
                  <a:gd name="connsiteX11" fmla="*/ 33909 w 42957"/>
                  <a:gd name="connsiteY11" fmla="*/ 44577 h 45815"/>
                  <a:gd name="connsiteX12" fmla="*/ 42958 w 42957"/>
                  <a:gd name="connsiteY12" fmla="*/ 44577 h 45815"/>
                  <a:gd name="connsiteX13" fmla="*/ 42958 w 42957"/>
                  <a:gd name="connsiteY13" fmla="*/ 13716 h 45815"/>
                  <a:gd name="connsiteX14" fmla="*/ 22955 w 42957"/>
                  <a:gd name="connsiteY14" fmla="*/ 0 h 45815"/>
                  <a:gd name="connsiteX15" fmla="*/ 2667 w 42957"/>
                  <a:gd name="connsiteY15" fmla="*/ 5239 h 45815"/>
                  <a:gd name="connsiteX16" fmla="*/ 6858 w 42957"/>
                  <a:gd name="connsiteY16" fmla="*/ 12478 h 45815"/>
                  <a:gd name="connsiteX17" fmla="*/ 22574 w 42957"/>
                  <a:gd name="connsiteY17" fmla="*/ 8096 h 45815"/>
                  <a:gd name="connsiteX18" fmla="*/ 33623 w 42957"/>
                  <a:gd name="connsiteY18" fmla="*/ 13526 h 45815"/>
                  <a:gd name="connsiteX19" fmla="*/ 21717 w 42957"/>
                  <a:gd name="connsiteY19" fmla="*/ 18288 h 45815"/>
                  <a:gd name="connsiteX20" fmla="*/ 21717 w 42957"/>
                  <a:gd name="connsiteY20" fmla="*/ 18288 h 45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2957" h="45815">
                    <a:moveTo>
                      <a:pt x="33718" y="30194"/>
                    </a:moveTo>
                    <a:cubicBezTo>
                      <a:pt x="33718" y="34957"/>
                      <a:pt x="27718" y="37909"/>
                      <a:pt x="19717" y="37909"/>
                    </a:cubicBezTo>
                    <a:cubicBezTo>
                      <a:pt x="12859" y="37909"/>
                      <a:pt x="9620" y="36005"/>
                      <a:pt x="9620" y="32004"/>
                    </a:cubicBezTo>
                    <a:cubicBezTo>
                      <a:pt x="9620" y="27432"/>
                      <a:pt x="13144" y="26194"/>
                      <a:pt x="21622" y="25908"/>
                    </a:cubicBezTo>
                    <a:cubicBezTo>
                      <a:pt x="31337" y="25432"/>
                      <a:pt x="33718" y="23527"/>
                      <a:pt x="33718" y="23527"/>
                    </a:cubicBezTo>
                    <a:lnTo>
                      <a:pt x="33718" y="30194"/>
                    </a:lnTo>
                    <a:lnTo>
                      <a:pt x="33718" y="30194"/>
                    </a:lnTo>
                    <a:close/>
                    <a:moveTo>
                      <a:pt x="21812" y="18193"/>
                    </a:moveTo>
                    <a:cubicBezTo>
                      <a:pt x="12573" y="18669"/>
                      <a:pt x="0" y="19431"/>
                      <a:pt x="0" y="31814"/>
                    </a:cubicBezTo>
                    <a:cubicBezTo>
                      <a:pt x="0" y="40291"/>
                      <a:pt x="5525" y="45815"/>
                      <a:pt x="18288" y="45815"/>
                    </a:cubicBezTo>
                    <a:cubicBezTo>
                      <a:pt x="28575" y="45815"/>
                      <a:pt x="33718" y="40577"/>
                      <a:pt x="33718" y="40577"/>
                    </a:cubicBezTo>
                    <a:lnTo>
                      <a:pt x="33909" y="44577"/>
                    </a:lnTo>
                    <a:lnTo>
                      <a:pt x="42958" y="44577"/>
                    </a:lnTo>
                    <a:lnTo>
                      <a:pt x="42958" y="13716"/>
                    </a:lnTo>
                    <a:cubicBezTo>
                      <a:pt x="42958" y="3524"/>
                      <a:pt x="34480" y="0"/>
                      <a:pt x="22955" y="0"/>
                    </a:cubicBezTo>
                    <a:cubicBezTo>
                      <a:pt x="10668" y="0"/>
                      <a:pt x="2667" y="5239"/>
                      <a:pt x="2667" y="5239"/>
                    </a:cubicBezTo>
                    <a:lnTo>
                      <a:pt x="6858" y="12478"/>
                    </a:lnTo>
                    <a:cubicBezTo>
                      <a:pt x="6858" y="12478"/>
                      <a:pt x="13335" y="8096"/>
                      <a:pt x="22574" y="8096"/>
                    </a:cubicBezTo>
                    <a:cubicBezTo>
                      <a:pt x="28766" y="8096"/>
                      <a:pt x="33623" y="9620"/>
                      <a:pt x="33623" y="13526"/>
                    </a:cubicBezTo>
                    <a:cubicBezTo>
                      <a:pt x="33623" y="16955"/>
                      <a:pt x="31337" y="17812"/>
                      <a:pt x="21717" y="18288"/>
                    </a:cubicBezTo>
                    <a:lnTo>
                      <a:pt x="21717" y="1828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5" name="Freihandform: Form 513">
                <a:extLst>
                  <a:ext uri="{FF2B5EF4-FFF2-40B4-BE49-F238E27FC236}">
                    <a16:creationId xmlns:a16="http://schemas.microsoft.com/office/drawing/2014/main" id="{D08F8F15-F1F0-D386-5191-718DB9443EF1}"/>
                  </a:ext>
                </a:extLst>
              </p:cNvPr>
              <p:cNvSpPr/>
              <p:nvPr/>
            </p:nvSpPr>
            <p:spPr>
              <a:xfrm>
                <a:off x="1814505" y="6053389"/>
                <a:ext cx="42957" cy="45815"/>
              </a:xfrm>
              <a:custGeom>
                <a:avLst/>
                <a:gdLst>
                  <a:gd name="connsiteX0" fmla="*/ 33718 w 42957"/>
                  <a:gd name="connsiteY0" fmla="*/ 30194 h 45815"/>
                  <a:gd name="connsiteX1" fmla="*/ 19717 w 42957"/>
                  <a:gd name="connsiteY1" fmla="*/ 37909 h 45815"/>
                  <a:gd name="connsiteX2" fmla="*/ 9620 w 42957"/>
                  <a:gd name="connsiteY2" fmla="*/ 32004 h 45815"/>
                  <a:gd name="connsiteX3" fmla="*/ 21622 w 42957"/>
                  <a:gd name="connsiteY3" fmla="*/ 25908 h 45815"/>
                  <a:gd name="connsiteX4" fmla="*/ 33718 w 42957"/>
                  <a:gd name="connsiteY4" fmla="*/ 23527 h 45815"/>
                  <a:gd name="connsiteX5" fmla="*/ 33718 w 42957"/>
                  <a:gd name="connsiteY5" fmla="*/ 30194 h 45815"/>
                  <a:gd name="connsiteX6" fmla="*/ 33718 w 42957"/>
                  <a:gd name="connsiteY6" fmla="*/ 30194 h 45815"/>
                  <a:gd name="connsiteX7" fmla="*/ 21812 w 42957"/>
                  <a:gd name="connsiteY7" fmla="*/ 18193 h 45815"/>
                  <a:gd name="connsiteX8" fmla="*/ 0 w 42957"/>
                  <a:gd name="connsiteY8" fmla="*/ 31814 h 45815"/>
                  <a:gd name="connsiteX9" fmla="*/ 18288 w 42957"/>
                  <a:gd name="connsiteY9" fmla="*/ 45815 h 45815"/>
                  <a:gd name="connsiteX10" fmla="*/ 33718 w 42957"/>
                  <a:gd name="connsiteY10" fmla="*/ 40577 h 45815"/>
                  <a:gd name="connsiteX11" fmla="*/ 33909 w 42957"/>
                  <a:gd name="connsiteY11" fmla="*/ 44577 h 45815"/>
                  <a:gd name="connsiteX12" fmla="*/ 42958 w 42957"/>
                  <a:gd name="connsiteY12" fmla="*/ 44577 h 45815"/>
                  <a:gd name="connsiteX13" fmla="*/ 42958 w 42957"/>
                  <a:gd name="connsiteY13" fmla="*/ 13716 h 45815"/>
                  <a:gd name="connsiteX14" fmla="*/ 22955 w 42957"/>
                  <a:gd name="connsiteY14" fmla="*/ 0 h 45815"/>
                  <a:gd name="connsiteX15" fmla="*/ 2667 w 42957"/>
                  <a:gd name="connsiteY15" fmla="*/ 5239 h 45815"/>
                  <a:gd name="connsiteX16" fmla="*/ 6858 w 42957"/>
                  <a:gd name="connsiteY16" fmla="*/ 12478 h 45815"/>
                  <a:gd name="connsiteX17" fmla="*/ 22574 w 42957"/>
                  <a:gd name="connsiteY17" fmla="*/ 8096 h 45815"/>
                  <a:gd name="connsiteX18" fmla="*/ 33623 w 42957"/>
                  <a:gd name="connsiteY18" fmla="*/ 13526 h 45815"/>
                  <a:gd name="connsiteX19" fmla="*/ 21717 w 42957"/>
                  <a:gd name="connsiteY19" fmla="*/ 18288 h 45815"/>
                  <a:gd name="connsiteX20" fmla="*/ 21717 w 42957"/>
                  <a:gd name="connsiteY20" fmla="*/ 18288 h 45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2957" h="45815">
                    <a:moveTo>
                      <a:pt x="33718" y="30194"/>
                    </a:moveTo>
                    <a:cubicBezTo>
                      <a:pt x="33718" y="34957"/>
                      <a:pt x="27718" y="37909"/>
                      <a:pt x="19717" y="37909"/>
                    </a:cubicBezTo>
                    <a:cubicBezTo>
                      <a:pt x="12859" y="37909"/>
                      <a:pt x="9620" y="36005"/>
                      <a:pt x="9620" y="32004"/>
                    </a:cubicBezTo>
                    <a:cubicBezTo>
                      <a:pt x="9620" y="27432"/>
                      <a:pt x="13144" y="26194"/>
                      <a:pt x="21622" y="25908"/>
                    </a:cubicBezTo>
                    <a:cubicBezTo>
                      <a:pt x="31337" y="25432"/>
                      <a:pt x="33718" y="23527"/>
                      <a:pt x="33718" y="23527"/>
                    </a:cubicBezTo>
                    <a:lnTo>
                      <a:pt x="33718" y="30194"/>
                    </a:lnTo>
                    <a:lnTo>
                      <a:pt x="33718" y="30194"/>
                    </a:lnTo>
                    <a:close/>
                    <a:moveTo>
                      <a:pt x="21812" y="18193"/>
                    </a:moveTo>
                    <a:cubicBezTo>
                      <a:pt x="12573" y="18669"/>
                      <a:pt x="0" y="19431"/>
                      <a:pt x="0" y="31814"/>
                    </a:cubicBezTo>
                    <a:cubicBezTo>
                      <a:pt x="0" y="40291"/>
                      <a:pt x="5525" y="45815"/>
                      <a:pt x="18288" y="45815"/>
                    </a:cubicBezTo>
                    <a:cubicBezTo>
                      <a:pt x="28575" y="45815"/>
                      <a:pt x="33718" y="40577"/>
                      <a:pt x="33718" y="40577"/>
                    </a:cubicBezTo>
                    <a:lnTo>
                      <a:pt x="33909" y="44577"/>
                    </a:lnTo>
                    <a:lnTo>
                      <a:pt x="42958" y="44577"/>
                    </a:lnTo>
                    <a:lnTo>
                      <a:pt x="42958" y="13716"/>
                    </a:lnTo>
                    <a:cubicBezTo>
                      <a:pt x="42958" y="3524"/>
                      <a:pt x="34480" y="0"/>
                      <a:pt x="22955" y="0"/>
                    </a:cubicBezTo>
                    <a:cubicBezTo>
                      <a:pt x="10668" y="0"/>
                      <a:pt x="2667" y="5239"/>
                      <a:pt x="2667" y="5239"/>
                    </a:cubicBezTo>
                    <a:lnTo>
                      <a:pt x="6858" y="12478"/>
                    </a:lnTo>
                    <a:cubicBezTo>
                      <a:pt x="6858" y="12478"/>
                      <a:pt x="13335" y="8096"/>
                      <a:pt x="22574" y="8096"/>
                    </a:cubicBezTo>
                    <a:cubicBezTo>
                      <a:pt x="28765" y="8096"/>
                      <a:pt x="33623" y="9620"/>
                      <a:pt x="33623" y="13526"/>
                    </a:cubicBezTo>
                    <a:cubicBezTo>
                      <a:pt x="33623" y="16955"/>
                      <a:pt x="31337" y="17812"/>
                      <a:pt x="21717" y="18288"/>
                    </a:cubicBezTo>
                    <a:lnTo>
                      <a:pt x="21717" y="1828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6" name="Freihandform: Form 514">
                <a:extLst>
                  <a:ext uri="{FF2B5EF4-FFF2-40B4-BE49-F238E27FC236}">
                    <a16:creationId xmlns:a16="http://schemas.microsoft.com/office/drawing/2014/main" id="{06859D7E-5C76-6905-7AA9-9CEE75B9D856}"/>
                  </a:ext>
                </a:extLst>
              </p:cNvPr>
              <p:cNvSpPr/>
              <p:nvPr/>
            </p:nvSpPr>
            <p:spPr>
              <a:xfrm>
                <a:off x="1584000" y="6053293"/>
                <a:ext cx="42957" cy="44577"/>
              </a:xfrm>
              <a:custGeom>
                <a:avLst/>
                <a:gdLst>
                  <a:gd name="connsiteX0" fmla="*/ 9906 w 42957"/>
                  <a:gd name="connsiteY0" fmla="*/ 17050 h 44577"/>
                  <a:gd name="connsiteX1" fmla="*/ 22574 w 42957"/>
                  <a:gd name="connsiteY1" fmla="*/ 8287 h 44577"/>
                  <a:gd name="connsiteX2" fmla="*/ 33052 w 42957"/>
                  <a:gd name="connsiteY2" fmla="*/ 17050 h 44577"/>
                  <a:gd name="connsiteX3" fmla="*/ 33052 w 42957"/>
                  <a:gd name="connsiteY3" fmla="*/ 44577 h 44577"/>
                  <a:gd name="connsiteX4" fmla="*/ 42958 w 42957"/>
                  <a:gd name="connsiteY4" fmla="*/ 44577 h 44577"/>
                  <a:gd name="connsiteX5" fmla="*/ 42958 w 42957"/>
                  <a:gd name="connsiteY5" fmla="*/ 17050 h 44577"/>
                  <a:gd name="connsiteX6" fmla="*/ 24765 w 42957"/>
                  <a:gd name="connsiteY6" fmla="*/ 0 h 44577"/>
                  <a:gd name="connsiteX7" fmla="*/ 10096 w 42957"/>
                  <a:gd name="connsiteY7" fmla="*/ 5239 h 44577"/>
                  <a:gd name="connsiteX8" fmla="*/ 9906 w 42957"/>
                  <a:gd name="connsiteY8" fmla="*/ 5239 h 44577"/>
                  <a:gd name="connsiteX9" fmla="*/ 9906 w 42957"/>
                  <a:gd name="connsiteY9" fmla="*/ 1143 h 44577"/>
                  <a:gd name="connsiteX10" fmla="*/ 0 w 42957"/>
                  <a:gd name="connsiteY10" fmla="*/ 1143 h 44577"/>
                  <a:gd name="connsiteX11" fmla="*/ 0 w 42957"/>
                  <a:gd name="connsiteY11" fmla="*/ 44482 h 44577"/>
                  <a:gd name="connsiteX12" fmla="*/ 9906 w 42957"/>
                  <a:gd name="connsiteY12" fmla="*/ 44482 h 44577"/>
                  <a:gd name="connsiteX13" fmla="*/ 9906 w 42957"/>
                  <a:gd name="connsiteY13" fmla="*/ 16955 h 44577"/>
                  <a:gd name="connsiteX14" fmla="*/ 9906 w 42957"/>
                  <a:gd name="connsiteY14" fmla="*/ 16955 h 44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2957" h="44577">
                    <a:moveTo>
                      <a:pt x="9906" y="17050"/>
                    </a:moveTo>
                    <a:cubicBezTo>
                      <a:pt x="9906" y="11335"/>
                      <a:pt x="15049" y="8287"/>
                      <a:pt x="22574" y="8287"/>
                    </a:cubicBezTo>
                    <a:cubicBezTo>
                      <a:pt x="30099" y="8287"/>
                      <a:pt x="33052" y="10287"/>
                      <a:pt x="33052" y="17050"/>
                    </a:cubicBezTo>
                    <a:lnTo>
                      <a:pt x="33052" y="44577"/>
                    </a:lnTo>
                    <a:lnTo>
                      <a:pt x="42958" y="44577"/>
                    </a:lnTo>
                    <a:lnTo>
                      <a:pt x="42958" y="17050"/>
                    </a:lnTo>
                    <a:cubicBezTo>
                      <a:pt x="42958" y="6096"/>
                      <a:pt x="37147" y="0"/>
                      <a:pt x="24765" y="0"/>
                    </a:cubicBezTo>
                    <a:cubicBezTo>
                      <a:pt x="15716" y="0"/>
                      <a:pt x="11144" y="4096"/>
                      <a:pt x="10096" y="5239"/>
                    </a:cubicBezTo>
                    <a:lnTo>
                      <a:pt x="9906" y="5239"/>
                    </a:lnTo>
                    <a:lnTo>
                      <a:pt x="9906" y="1143"/>
                    </a:lnTo>
                    <a:lnTo>
                      <a:pt x="0" y="1143"/>
                    </a:lnTo>
                    <a:lnTo>
                      <a:pt x="0" y="44482"/>
                    </a:lnTo>
                    <a:lnTo>
                      <a:pt x="9906" y="44482"/>
                    </a:lnTo>
                    <a:lnTo>
                      <a:pt x="9906" y="16955"/>
                    </a:lnTo>
                    <a:lnTo>
                      <a:pt x="9906" y="1695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7" name="Freihandform: Form 515">
                <a:extLst>
                  <a:ext uri="{FF2B5EF4-FFF2-40B4-BE49-F238E27FC236}">
                    <a16:creationId xmlns:a16="http://schemas.microsoft.com/office/drawing/2014/main" id="{8D2D7FB3-016E-22EC-805C-9AC2863CCB92}"/>
                  </a:ext>
                </a:extLst>
              </p:cNvPr>
              <p:cNvSpPr/>
              <p:nvPr/>
            </p:nvSpPr>
            <p:spPr>
              <a:xfrm>
                <a:off x="1795836" y="6039387"/>
                <a:ext cx="9906" cy="58483"/>
              </a:xfrm>
              <a:custGeom>
                <a:avLst/>
                <a:gdLst>
                  <a:gd name="connsiteX0" fmla="*/ 9906 w 9906"/>
                  <a:gd name="connsiteY0" fmla="*/ 0 h 58483"/>
                  <a:gd name="connsiteX1" fmla="*/ 0 w 9906"/>
                  <a:gd name="connsiteY1" fmla="*/ 0 h 58483"/>
                  <a:gd name="connsiteX2" fmla="*/ 0 w 9906"/>
                  <a:gd name="connsiteY2" fmla="*/ 58483 h 58483"/>
                  <a:gd name="connsiteX3" fmla="*/ 9906 w 9906"/>
                  <a:gd name="connsiteY3" fmla="*/ 58483 h 58483"/>
                  <a:gd name="connsiteX4" fmla="*/ 9906 w 9906"/>
                  <a:gd name="connsiteY4" fmla="*/ 0 h 58483"/>
                  <a:gd name="connsiteX5" fmla="*/ 9906 w 9906"/>
                  <a:gd name="connsiteY5" fmla="*/ 0 h 58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906" h="58483">
                    <a:moveTo>
                      <a:pt x="9906" y="0"/>
                    </a:moveTo>
                    <a:lnTo>
                      <a:pt x="0" y="0"/>
                    </a:lnTo>
                    <a:lnTo>
                      <a:pt x="0" y="58483"/>
                    </a:lnTo>
                    <a:lnTo>
                      <a:pt x="9906" y="58483"/>
                    </a:lnTo>
                    <a:lnTo>
                      <a:pt x="9906" y="0"/>
                    </a:lnTo>
                    <a:lnTo>
                      <a:pt x="9906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8" name="Freihandform: Form 516">
                <a:extLst>
                  <a:ext uri="{FF2B5EF4-FFF2-40B4-BE49-F238E27FC236}">
                    <a16:creationId xmlns:a16="http://schemas.microsoft.com/office/drawing/2014/main" id="{4C781164-C1B7-7A8F-7D6D-1117D58D8D0A}"/>
                  </a:ext>
                </a:extLst>
              </p:cNvPr>
              <p:cNvSpPr/>
              <p:nvPr/>
            </p:nvSpPr>
            <p:spPr>
              <a:xfrm>
                <a:off x="1466366" y="6039768"/>
                <a:ext cx="54387" cy="58102"/>
              </a:xfrm>
              <a:custGeom>
                <a:avLst/>
                <a:gdLst>
                  <a:gd name="connsiteX0" fmla="*/ 10096 w 54387"/>
                  <a:gd name="connsiteY0" fmla="*/ 31814 h 58102"/>
                  <a:gd name="connsiteX1" fmla="*/ 44291 w 54387"/>
                  <a:gd name="connsiteY1" fmla="*/ 31814 h 58102"/>
                  <a:gd name="connsiteX2" fmla="*/ 44291 w 54387"/>
                  <a:gd name="connsiteY2" fmla="*/ 58103 h 58102"/>
                  <a:gd name="connsiteX3" fmla="*/ 54388 w 54387"/>
                  <a:gd name="connsiteY3" fmla="*/ 58103 h 58102"/>
                  <a:gd name="connsiteX4" fmla="*/ 54388 w 54387"/>
                  <a:gd name="connsiteY4" fmla="*/ 0 h 58102"/>
                  <a:gd name="connsiteX5" fmla="*/ 44291 w 54387"/>
                  <a:gd name="connsiteY5" fmla="*/ 0 h 58102"/>
                  <a:gd name="connsiteX6" fmla="*/ 44291 w 54387"/>
                  <a:gd name="connsiteY6" fmla="*/ 23336 h 58102"/>
                  <a:gd name="connsiteX7" fmla="*/ 10096 w 54387"/>
                  <a:gd name="connsiteY7" fmla="*/ 23336 h 58102"/>
                  <a:gd name="connsiteX8" fmla="*/ 10096 w 54387"/>
                  <a:gd name="connsiteY8" fmla="*/ 0 h 58102"/>
                  <a:gd name="connsiteX9" fmla="*/ 0 w 54387"/>
                  <a:gd name="connsiteY9" fmla="*/ 0 h 58102"/>
                  <a:gd name="connsiteX10" fmla="*/ 0 w 54387"/>
                  <a:gd name="connsiteY10" fmla="*/ 58103 h 58102"/>
                  <a:gd name="connsiteX11" fmla="*/ 10096 w 54387"/>
                  <a:gd name="connsiteY11" fmla="*/ 58103 h 58102"/>
                  <a:gd name="connsiteX12" fmla="*/ 10096 w 54387"/>
                  <a:gd name="connsiteY12" fmla="*/ 31814 h 58102"/>
                  <a:gd name="connsiteX13" fmla="*/ 10096 w 54387"/>
                  <a:gd name="connsiteY13" fmla="*/ 31814 h 58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4387" h="58102">
                    <a:moveTo>
                      <a:pt x="10096" y="31814"/>
                    </a:moveTo>
                    <a:lnTo>
                      <a:pt x="44291" y="31814"/>
                    </a:lnTo>
                    <a:lnTo>
                      <a:pt x="44291" y="58103"/>
                    </a:lnTo>
                    <a:lnTo>
                      <a:pt x="54388" y="58103"/>
                    </a:lnTo>
                    <a:lnTo>
                      <a:pt x="54388" y="0"/>
                    </a:lnTo>
                    <a:lnTo>
                      <a:pt x="44291" y="0"/>
                    </a:lnTo>
                    <a:lnTo>
                      <a:pt x="44291" y="23336"/>
                    </a:lnTo>
                    <a:lnTo>
                      <a:pt x="10096" y="23336"/>
                    </a:lnTo>
                    <a:lnTo>
                      <a:pt x="10096" y="0"/>
                    </a:lnTo>
                    <a:lnTo>
                      <a:pt x="0" y="0"/>
                    </a:lnTo>
                    <a:lnTo>
                      <a:pt x="0" y="58103"/>
                    </a:lnTo>
                    <a:lnTo>
                      <a:pt x="10096" y="58103"/>
                    </a:lnTo>
                    <a:lnTo>
                      <a:pt x="10096" y="31814"/>
                    </a:lnTo>
                    <a:lnTo>
                      <a:pt x="10096" y="31814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9" name="Freihandform: Form 517">
                <a:extLst>
                  <a:ext uri="{FF2B5EF4-FFF2-40B4-BE49-F238E27FC236}">
                    <a16:creationId xmlns:a16="http://schemas.microsoft.com/office/drawing/2014/main" id="{DD8BC40D-F567-DD4D-2A20-10C539A706CE}"/>
                  </a:ext>
                </a:extLst>
              </p:cNvPr>
              <p:cNvSpPr/>
              <p:nvPr/>
            </p:nvSpPr>
            <p:spPr>
              <a:xfrm>
                <a:off x="1740591" y="6053293"/>
                <a:ext cx="46577" cy="65055"/>
              </a:xfrm>
              <a:custGeom>
                <a:avLst/>
                <a:gdLst>
                  <a:gd name="connsiteX0" fmla="*/ 9906 w 46577"/>
                  <a:gd name="connsiteY0" fmla="*/ 16288 h 65055"/>
                  <a:gd name="connsiteX1" fmla="*/ 23146 w 46577"/>
                  <a:gd name="connsiteY1" fmla="*/ 8096 h 65055"/>
                  <a:gd name="connsiteX2" fmla="*/ 36100 w 46577"/>
                  <a:gd name="connsiteY2" fmla="*/ 22955 h 65055"/>
                  <a:gd name="connsiteX3" fmla="*/ 23146 w 46577"/>
                  <a:gd name="connsiteY3" fmla="*/ 37529 h 65055"/>
                  <a:gd name="connsiteX4" fmla="*/ 9906 w 46577"/>
                  <a:gd name="connsiteY4" fmla="*/ 29432 h 65055"/>
                  <a:gd name="connsiteX5" fmla="*/ 9906 w 46577"/>
                  <a:gd name="connsiteY5" fmla="*/ 16193 h 65055"/>
                  <a:gd name="connsiteX6" fmla="*/ 9906 w 46577"/>
                  <a:gd name="connsiteY6" fmla="*/ 16193 h 65055"/>
                  <a:gd name="connsiteX7" fmla="*/ 9906 w 46577"/>
                  <a:gd name="connsiteY7" fmla="*/ 40481 h 65055"/>
                  <a:gd name="connsiteX8" fmla="*/ 10097 w 46577"/>
                  <a:gd name="connsiteY8" fmla="*/ 40481 h 65055"/>
                  <a:gd name="connsiteX9" fmla="*/ 24670 w 46577"/>
                  <a:gd name="connsiteY9" fmla="*/ 45720 h 65055"/>
                  <a:gd name="connsiteX10" fmla="*/ 46577 w 46577"/>
                  <a:gd name="connsiteY10" fmla="*/ 22765 h 65055"/>
                  <a:gd name="connsiteX11" fmla="*/ 24670 w 46577"/>
                  <a:gd name="connsiteY11" fmla="*/ 0 h 65055"/>
                  <a:gd name="connsiteX12" fmla="*/ 10097 w 46577"/>
                  <a:gd name="connsiteY12" fmla="*/ 5239 h 65055"/>
                  <a:gd name="connsiteX13" fmla="*/ 9906 w 46577"/>
                  <a:gd name="connsiteY13" fmla="*/ 5239 h 65055"/>
                  <a:gd name="connsiteX14" fmla="*/ 9906 w 46577"/>
                  <a:gd name="connsiteY14" fmla="*/ 1143 h 65055"/>
                  <a:gd name="connsiteX15" fmla="*/ 0 w 46577"/>
                  <a:gd name="connsiteY15" fmla="*/ 1143 h 65055"/>
                  <a:gd name="connsiteX16" fmla="*/ 0 w 46577"/>
                  <a:gd name="connsiteY16" fmla="*/ 65056 h 65055"/>
                  <a:gd name="connsiteX17" fmla="*/ 9906 w 46577"/>
                  <a:gd name="connsiteY17" fmla="*/ 65056 h 65055"/>
                  <a:gd name="connsiteX18" fmla="*/ 9906 w 46577"/>
                  <a:gd name="connsiteY18" fmla="*/ 40481 h 65055"/>
                  <a:gd name="connsiteX19" fmla="*/ 9906 w 46577"/>
                  <a:gd name="connsiteY19" fmla="*/ 40481 h 65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6577" h="65055">
                    <a:moveTo>
                      <a:pt x="9906" y="16288"/>
                    </a:moveTo>
                    <a:cubicBezTo>
                      <a:pt x="9906" y="11430"/>
                      <a:pt x="15621" y="8096"/>
                      <a:pt x="23146" y="8096"/>
                    </a:cubicBezTo>
                    <a:cubicBezTo>
                      <a:pt x="32480" y="8096"/>
                      <a:pt x="36100" y="14192"/>
                      <a:pt x="36100" y="22955"/>
                    </a:cubicBezTo>
                    <a:cubicBezTo>
                      <a:pt x="36100" y="31718"/>
                      <a:pt x="32480" y="37529"/>
                      <a:pt x="23146" y="37529"/>
                    </a:cubicBezTo>
                    <a:cubicBezTo>
                      <a:pt x="15621" y="37529"/>
                      <a:pt x="9906" y="34862"/>
                      <a:pt x="9906" y="29432"/>
                    </a:cubicBezTo>
                    <a:lnTo>
                      <a:pt x="9906" y="16193"/>
                    </a:lnTo>
                    <a:lnTo>
                      <a:pt x="9906" y="16193"/>
                    </a:lnTo>
                    <a:close/>
                    <a:moveTo>
                      <a:pt x="9906" y="40481"/>
                    </a:moveTo>
                    <a:lnTo>
                      <a:pt x="10097" y="40481"/>
                    </a:lnTo>
                    <a:cubicBezTo>
                      <a:pt x="11430" y="41910"/>
                      <a:pt x="15812" y="45720"/>
                      <a:pt x="24670" y="45720"/>
                    </a:cubicBezTo>
                    <a:cubicBezTo>
                      <a:pt x="39719" y="45720"/>
                      <a:pt x="46577" y="35243"/>
                      <a:pt x="46577" y="22765"/>
                    </a:cubicBezTo>
                    <a:cubicBezTo>
                      <a:pt x="46577" y="10287"/>
                      <a:pt x="39815" y="0"/>
                      <a:pt x="24670" y="0"/>
                    </a:cubicBezTo>
                    <a:cubicBezTo>
                      <a:pt x="16193" y="0"/>
                      <a:pt x="11144" y="4096"/>
                      <a:pt x="10097" y="5239"/>
                    </a:cubicBezTo>
                    <a:lnTo>
                      <a:pt x="9906" y="5239"/>
                    </a:lnTo>
                    <a:lnTo>
                      <a:pt x="9906" y="1143"/>
                    </a:lnTo>
                    <a:lnTo>
                      <a:pt x="0" y="1143"/>
                    </a:lnTo>
                    <a:lnTo>
                      <a:pt x="0" y="65056"/>
                    </a:lnTo>
                    <a:lnTo>
                      <a:pt x="9906" y="65056"/>
                    </a:lnTo>
                    <a:lnTo>
                      <a:pt x="9906" y="40481"/>
                    </a:lnTo>
                    <a:lnTo>
                      <a:pt x="9906" y="4048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18" name="Freihandform: Form 357">
              <a:extLst>
                <a:ext uri="{FF2B5EF4-FFF2-40B4-BE49-F238E27FC236}">
                  <a16:creationId xmlns:a16="http://schemas.microsoft.com/office/drawing/2014/main" id="{50D2E634-5D75-7C9A-FA3E-1C03450F4B42}"/>
                </a:ext>
              </a:extLst>
            </p:cNvPr>
            <p:cNvSpPr/>
            <p:nvPr/>
          </p:nvSpPr>
          <p:spPr>
            <a:xfrm>
              <a:off x="2305137" y="6013003"/>
              <a:ext cx="642366" cy="150114"/>
            </a:xfrm>
            <a:custGeom>
              <a:avLst/>
              <a:gdLst>
                <a:gd name="connsiteX0" fmla="*/ 504158 w 642366"/>
                <a:gd name="connsiteY0" fmla="*/ 142399 h 150114"/>
                <a:gd name="connsiteX1" fmla="*/ 497396 w 642366"/>
                <a:gd name="connsiteY1" fmla="*/ 145352 h 150114"/>
                <a:gd name="connsiteX2" fmla="*/ 490919 w 642366"/>
                <a:gd name="connsiteY2" fmla="*/ 145352 h 150114"/>
                <a:gd name="connsiteX3" fmla="*/ 490919 w 642366"/>
                <a:gd name="connsiteY3" fmla="*/ 124016 h 150114"/>
                <a:gd name="connsiteX4" fmla="*/ 497396 w 642366"/>
                <a:gd name="connsiteY4" fmla="*/ 124016 h 150114"/>
                <a:gd name="connsiteX5" fmla="*/ 502348 w 642366"/>
                <a:gd name="connsiteY5" fmla="*/ 125349 h 150114"/>
                <a:gd name="connsiteX6" fmla="*/ 505587 w 642366"/>
                <a:gd name="connsiteY6" fmla="*/ 129064 h 150114"/>
                <a:gd name="connsiteX7" fmla="*/ 506730 w 642366"/>
                <a:gd name="connsiteY7" fmla="*/ 134588 h 150114"/>
                <a:gd name="connsiteX8" fmla="*/ 504254 w 642366"/>
                <a:gd name="connsiteY8" fmla="*/ 142304 h 150114"/>
                <a:gd name="connsiteX9" fmla="*/ 504254 w 642366"/>
                <a:gd name="connsiteY9" fmla="*/ 142304 h 150114"/>
                <a:gd name="connsiteX10" fmla="*/ 505015 w 642366"/>
                <a:gd name="connsiteY10" fmla="*/ 121634 h 150114"/>
                <a:gd name="connsiteX11" fmla="*/ 497491 w 642366"/>
                <a:gd name="connsiteY11" fmla="*/ 119729 h 150114"/>
                <a:gd name="connsiteX12" fmla="*/ 485775 w 642366"/>
                <a:gd name="connsiteY12" fmla="*/ 119729 h 150114"/>
                <a:gd name="connsiteX13" fmla="*/ 485775 w 642366"/>
                <a:gd name="connsiteY13" fmla="*/ 149638 h 150114"/>
                <a:gd name="connsiteX14" fmla="*/ 497491 w 642366"/>
                <a:gd name="connsiteY14" fmla="*/ 149638 h 150114"/>
                <a:gd name="connsiteX15" fmla="*/ 505015 w 642366"/>
                <a:gd name="connsiteY15" fmla="*/ 147733 h 150114"/>
                <a:gd name="connsiteX16" fmla="*/ 509969 w 642366"/>
                <a:gd name="connsiteY16" fmla="*/ 142399 h 150114"/>
                <a:gd name="connsiteX17" fmla="*/ 511683 w 642366"/>
                <a:gd name="connsiteY17" fmla="*/ 134588 h 150114"/>
                <a:gd name="connsiteX18" fmla="*/ 509873 w 642366"/>
                <a:gd name="connsiteY18" fmla="*/ 126873 h 150114"/>
                <a:gd name="connsiteX19" fmla="*/ 504825 w 642366"/>
                <a:gd name="connsiteY19" fmla="*/ 121634 h 150114"/>
                <a:gd name="connsiteX20" fmla="*/ 504825 w 642366"/>
                <a:gd name="connsiteY20" fmla="*/ 121634 h 150114"/>
                <a:gd name="connsiteX21" fmla="*/ 467201 w 642366"/>
                <a:gd name="connsiteY21" fmla="*/ 119729 h 150114"/>
                <a:gd name="connsiteX22" fmla="*/ 471869 w 642366"/>
                <a:gd name="connsiteY22" fmla="*/ 119729 h 150114"/>
                <a:gd name="connsiteX23" fmla="*/ 471869 w 642366"/>
                <a:gd name="connsiteY23" fmla="*/ 149638 h 150114"/>
                <a:gd name="connsiteX24" fmla="*/ 465772 w 642366"/>
                <a:gd name="connsiteY24" fmla="*/ 149638 h 150114"/>
                <a:gd name="connsiteX25" fmla="*/ 450818 w 642366"/>
                <a:gd name="connsiteY25" fmla="*/ 126873 h 150114"/>
                <a:gd name="connsiteX26" fmla="*/ 450818 w 642366"/>
                <a:gd name="connsiteY26" fmla="*/ 149638 h 150114"/>
                <a:gd name="connsiteX27" fmla="*/ 446151 w 642366"/>
                <a:gd name="connsiteY27" fmla="*/ 149638 h 150114"/>
                <a:gd name="connsiteX28" fmla="*/ 446151 w 642366"/>
                <a:gd name="connsiteY28" fmla="*/ 119729 h 150114"/>
                <a:gd name="connsiteX29" fmla="*/ 452152 w 642366"/>
                <a:gd name="connsiteY29" fmla="*/ 119729 h 150114"/>
                <a:gd name="connsiteX30" fmla="*/ 467201 w 642366"/>
                <a:gd name="connsiteY30" fmla="*/ 142494 h 150114"/>
                <a:gd name="connsiteX31" fmla="*/ 467201 w 642366"/>
                <a:gd name="connsiteY31" fmla="*/ 119729 h 150114"/>
                <a:gd name="connsiteX32" fmla="*/ 467201 w 642366"/>
                <a:gd name="connsiteY32" fmla="*/ 119729 h 150114"/>
                <a:gd name="connsiteX33" fmla="*/ 415862 w 642366"/>
                <a:gd name="connsiteY33" fmla="*/ 137922 h 150114"/>
                <a:gd name="connsiteX34" fmla="*/ 420814 w 642366"/>
                <a:gd name="connsiteY34" fmla="*/ 124587 h 150114"/>
                <a:gd name="connsiteX35" fmla="*/ 425577 w 642366"/>
                <a:gd name="connsiteY35" fmla="*/ 137922 h 150114"/>
                <a:gd name="connsiteX36" fmla="*/ 415862 w 642366"/>
                <a:gd name="connsiteY36" fmla="*/ 137922 h 150114"/>
                <a:gd name="connsiteX37" fmla="*/ 417862 w 642366"/>
                <a:gd name="connsiteY37" fmla="*/ 119729 h 150114"/>
                <a:gd name="connsiteX38" fmla="*/ 406146 w 642366"/>
                <a:gd name="connsiteY38" fmla="*/ 149638 h 150114"/>
                <a:gd name="connsiteX39" fmla="*/ 411575 w 642366"/>
                <a:gd name="connsiteY39" fmla="*/ 149638 h 150114"/>
                <a:gd name="connsiteX40" fmla="*/ 414338 w 642366"/>
                <a:gd name="connsiteY40" fmla="*/ 142208 h 150114"/>
                <a:gd name="connsiteX41" fmla="*/ 427196 w 642366"/>
                <a:gd name="connsiteY41" fmla="*/ 142208 h 150114"/>
                <a:gd name="connsiteX42" fmla="*/ 429863 w 642366"/>
                <a:gd name="connsiteY42" fmla="*/ 149638 h 150114"/>
                <a:gd name="connsiteX43" fmla="*/ 435388 w 642366"/>
                <a:gd name="connsiteY43" fmla="*/ 149638 h 150114"/>
                <a:gd name="connsiteX44" fmla="*/ 423863 w 642366"/>
                <a:gd name="connsiteY44" fmla="*/ 119729 h 150114"/>
                <a:gd name="connsiteX45" fmla="*/ 418052 w 642366"/>
                <a:gd name="connsiteY45" fmla="*/ 119729 h 150114"/>
                <a:gd name="connsiteX46" fmla="*/ 382905 w 642366"/>
                <a:gd name="connsiteY46" fmla="*/ 145352 h 150114"/>
                <a:gd name="connsiteX47" fmla="*/ 397193 w 642366"/>
                <a:gd name="connsiteY47" fmla="*/ 145352 h 150114"/>
                <a:gd name="connsiteX48" fmla="*/ 397193 w 642366"/>
                <a:gd name="connsiteY48" fmla="*/ 149638 h 150114"/>
                <a:gd name="connsiteX49" fmla="*/ 377857 w 642366"/>
                <a:gd name="connsiteY49" fmla="*/ 149638 h 150114"/>
                <a:gd name="connsiteX50" fmla="*/ 377857 w 642366"/>
                <a:gd name="connsiteY50" fmla="*/ 119729 h 150114"/>
                <a:gd name="connsiteX51" fmla="*/ 382905 w 642366"/>
                <a:gd name="connsiteY51" fmla="*/ 119729 h 150114"/>
                <a:gd name="connsiteX52" fmla="*/ 382905 w 642366"/>
                <a:gd name="connsiteY52" fmla="*/ 145352 h 150114"/>
                <a:gd name="connsiteX53" fmla="*/ 382905 w 642366"/>
                <a:gd name="connsiteY53" fmla="*/ 145352 h 150114"/>
                <a:gd name="connsiteX54" fmla="*/ 345472 w 642366"/>
                <a:gd name="connsiteY54" fmla="*/ 133922 h 150114"/>
                <a:gd name="connsiteX55" fmla="*/ 345472 w 642366"/>
                <a:gd name="connsiteY55" fmla="*/ 124111 h 150114"/>
                <a:gd name="connsiteX56" fmla="*/ 353854 w 642366"/>
                <a:gd name="connsiteY56" fmla="*/ 124111 h 150114"/>
                <a:gd name="connsiteX57" fmla="*/ 357854 w 642366"/>
                <a:gd name="connsiteY57" fmla="*/ 125444 h 150114"/>
                <a:gd name="connsiteX58" fmla="*/ 359283 w 642366"/>
                <a:gd name="connsiteY58" fmla="*/ 129064 h 150114"/>
                <a:gd name="connsiteX59" fmla="*/ 357854 w 642366"/>
                <a:gd name="connsiteY59" fmla="*/ 132683 h 150114"/>
                <a:gd name="connsiteX60" fmla="*/ 353854 w 642366"/>
                <a:gd name="connsiteY60" fmla="*/ 134017 h 150114"/>
                <a:gd name="connsiteX61" fmla="*/ 345472 w 642366"/>
                <a:gd name="connsiteY61" fmla="*/ 134017 h 150114"/>
                <a:gd name="connsiteX62" fmla="*/ 362712 w 642366"/>
                <a:gd name="connsiteY62" fmla="*/ 134779 h 150114"/>
                <a:gd name="connsiteX63" fmla="*/ 364617 w 642366"/>
                <a:gd name="connsiteY63" fmla="*/ 128969 h 150114"/>
                <a:gd name="connsiteX64" fmla="*/ 363379 w 642366"/>
                <a:gd name="connsiteY64" fmla="*/ 124206 h 150114"/>
                <a:gd name="connsiteX65" fmla="*/ 359855 w 642366"/>
                <a:gd name="connsiteY65" fmla="*/ 120968 h 150114"/>
                <a:gd name="connsiteX66" fmla="*/ 354330 w 642366"/>
                <a:gd name="connsiteY66" fmla="*/ 119825 h 150114"/>
                <a:gd name="connsiteX67" fmla="*/ 340423 w 642366"/>
                <a:gd name="connsiteY67" fmla="*/ 119825 h 150114"/>
                <a:gd name="connsiteX68" fmla="*/ 340423 w 642366"/>
                <a:gd name="connsiteY68" fmla="*/ 149733 h 150114"/>
                <a:gd name="connsiteX69" fmla="*/ 345472 w 642366"/>
                <a:gd name="connsiteY69" fmla="*/ 149733 h 150114"/>
                <a:gd name="connsiteX70" fmla="*/ 345472 w 642366"/>
                <a:gd name="connsiteY70" fmla="*/ 138303 h 150114"/>
                <a:gd name="connsiteX71" fmla="*/ 351663 w 642366"/>
                <a:gd name="connsiteY71" fmla="*/ 138303 h 150114"/>
                <a:gd name="connsiteX72" fmla="*/ 360045 w 642366"/>
                <a:gd name="connsiteY72" fmla="*/ 149733 h 150114"/>
                <a:gd name="connsiteX73" fmla="*/ 366236 w 642366"/>
                <a:gd name="connsiteY73" fmla="*/ 149733 h 150114"/>
                <a:gd name="connsiteX74" fmla="*/ 357283 w 642366"/>
                <a:gd name="connsiteY74" fmla="*/ 138017 h 150114"/>
                <a:gd name="connsiteX75" fmla="*/ 362617 w 642366"/>
                <a:gd name="connsiteY75" fmla="*/ 134969 h 150114"/>
                <a:gd name="connsiteX76" fmla="*/ 362617 w 642366"/>
                <a:gd name="connsiteY76" fmla="*/ 134969 h 150114"/>
                <a:gd name="connsiteX77" fmla="*/ 310896 w 642366"/>
                <a:gd name="connsiteY77" fmla="*/ 145352 h 150114"/>
                <a:gd name="connsiteX78" fmla="*/ 327660 w 642366"/>
                <a:gd name="connsiteY78" fmla="*/ 145352 h 150114"/>
                <a:gd name="connsiteX79" fmla="*/ 327660 w 642366"/>
                <a:gd name="connsiteY79" fmla="*/ 149638 h 150114"/>
                <a:gd name="connsiteX80" fmla="*/ 305848 w 642366"/>
                <a:gd name="connsiteY80" fmla="*/ 149638 h 150114"/>
                <a:gd name="connsiteX81" fmla="*/ 305848 w 642366"/>
                <a:gd name="connsiteY81" fmla="*/ 119729 h 150114"/>
                <a:gd name="connsiteX82" fmla="*/ 327374 w 642366"/>
                <a:gd name="connsiteY82" fmla="*/ 119729 h 150114"/>
                <a:gd name="connsiteX83" fmla="*/ 327374 w 642366"/>
                <a:gd name="connsiteY83" fmla="*/ 124016 h 150114"/>
                <a:gd name="connsiteX84" fmla="*/ 310896 w 642366"/>
                <a:gd name="connsiteY84" fmla="*/ 124016 h 150114"/>
                <a:gd name="connsiteX85" fmla="*/ 310896 w 642366"/>
                <a:gd name="connsiteY85" fmla="*/ 131921 h 150114"/>
                <a:gd name="connsiteX86" fmla="*/ 326517 w 642366"/>
                <a:gd name="connsiteY86" fmla="*/ 131921 h 150114"/>
                <a:gd name="connsiteX87" fmla="*/ 326517 w 642366"/>
                <a:gd name="connsiteY87" fmla="*/ 136208 h 150114"/>
                <a:gd name="connsiteX88" fmla="*/ 310896 w 642366"/>
                <a:gd name="connsiteY88" fmla="*/ 136208 h 150114"/>
                <a:gd name="connsiteX89" fmla="*/ 310896 w 642366"/>
                <a:gd name="connsiteY89" fmla="*/ 145256 h 150114"/>
                <a:gd name="connsiteX90" fmla="*/ 310896 w 642366"/>
                <a:gd name="connsiteY90" fmla="*/ 145256 h 150114"/>
                <a:gd name="connsiteX91" fmla="*/ 275939 w 642366"/>
                <a:gd name="connsiteY91" fmla="*/ 145352 h 150114"/>
                <a:gd name="connsiteX92" fmla="*/ 293846 w 642366"/>
                <a:gd name="connsiteY92" fmla="*/ 145352 h 150114"/>
                <a:gd name="connsiteX93" fmla="*/ 293846 w 642366"/>
                <a:gd name="connsiteY93" fmla="*/ 149638 h 150114"/>
                <a:gd name="connsiteX94" fmla="*/ 269272 w 642366"/>
                <a:gd name="connsiteY94" fmla="*/ 149638 h 150114"/>
                <a:gd name="connsiteX95" fmla="*/ 269272 w 642366"/>
                <a:gd name="connsiteY95" fmla="*/ 145733 h 150114"/>
                <a:gd name="connsiteX96" fmla="*/ 286893 w 642366"/>
                <a:gd name="connsiteY96" fmla="*/ 124016 h 150114"/>
                <a:gd name="connsiteX97" fmla="*/ 269938 w 642366"/>
                <a:gd name="connsiteY97" fmla="*/ 124016 h 150114"/>
                <a:gd name="connsiteX98" fmla="*/ 269938 w 642366"/>
                <a:gd name="connsiteY98" fmla="*/ 119729 h 150114"/>
                <a:gd name="connsiteX99" fmla="*/ 293465 w 642366"/>
                <a:gd name="connsiteY99" fmla="*/ 119729 h 150114"/>
                <a:gd name="connsiteX100" fmla="*/ 293465 w 642366"/>
                <a:gd name="connsiteY100" fmla="*/ 123634 h 150114"/>
                <a:gd name="connsiteX101" fmla="*/ 275844 w 642366"/>
                <a:gd name="connsiteY101" fmla="*/ 145352 h 150114"/>
                <a:gd name="connsiteX102" fmla="*/ 275844 w 642366"/>
                <a:gd name="connsiteY102" fmla="*/ 145352 h 150114"/>
                <a:gd name="connsiteX103" fmla="*/ 234601 w 642366"/>
                <a:gd name="connsiteY103" fmla="*/ 119729 h 150114"/>
                <a:gd name="connsiteX104" fmla="*/ 259461 w 642366"/>
                <a:gd name="connsiteY104" fmla="*/ 119729 h 150114"/>
                <a:gd name="connsiteX105" fmla="*/ 259461 w 642366"/>
                <a:gd name="connsiteY105" fmla="*/ 124016 h 150114"/>
                <a:gd name="connsiteX106" fmla="*/ 249555 w 642366"/>
                <a:gd name="connsiteY106" fmla="*/ 124016 h 150114"/>
                <a:gd name="connsiteX107" fmla="*/ 249555 w 642366"/>
                <a:gd name="connsiteY107" fmla="*/ 149638 h 150114"/>
                <a:gd name="connsiteX108" fmla="*/ 244507 w 642366"/>
                <a:gd name="connsiteY108" fmla="*/ 149638 h 150114"/>
                <a:gd name="connsiteX109" fmla="*/ 244507 w 642366"/>
                <a:gd name="connsiteY109" fmla="*/ 124016 h 150114"/>
                <a:gd name="connsiteX110" fmla="*/ 234601 w 642366"/>
                <a:gd name="connsiteY110" fmla="*/ 124016 h 150114"/>
                <a:gd name="connsiteX111" fmla="*/ 234601 w 642366"/>
                <a:gd name="connsiteY111" fmla="*/ 119729 h 150114"/>
                <a:gd name="connsiteX112" fmla="*/ 234601 w 642366"/>
                <a:gd name="connsiteY112" fmla="*/ 119729 h 150114"/>
                <a:gd name="connsiteX113" fmla="*/ 217742 w 642366"/>
                <a:gd name="connsiteY113" fmla="*/ 119729 h 150114"/>
                <a:gd name="connsiteX114" fmla="*/ 222790 w 642366"/>
                <a:gd name="connsiteY114" fmla="*/ 119729 h 150114"/>
                <a:gd name="connsiteX115" fmla="*/ 222790 w 642366"/>
                <a:gd name="connsiteY115" fmla="*/ 149638 h 150114"/>
                <a:gd name="connsiteX116" fmla="*/ 217742 w 642366"/>
                <a:gd name="connsiteY116" fmla="*/ 149638 h 150114"/>
                <a:gd name="connsiteX117" fmla="*/ 217742 w 642366"/>
                <a:gd name="connsiteY117" fmla="*/ 119729 h 150114"/>
                <a:gd name="connsiteX118" fmla="*/ 217742 w 642366"/>
                <a:gd name="connsiteY118" fmla="*/ 119729 h 150114"/>
                <a:gd name="connsiteX119" fmla="*/ 201644 w 642366"/>
                <a:gd name="connsiteY119" fmla="*/ 119729 h 150114"/>
                <a:gd name="connsiteX120" fmla="*/ 206788 w 642366"/>
                <a:gd name="connsiteY120" fmla="*/ 119729 h 150114"/>
                <a:gd name="connsiteX121" fmla="*/ 198025 w 642366"/>
                <a:gd name="connsiteY121" fmla="*/ 149638 h 150114"/>
                <a:gd name="connsiteX122" fmla="*/ 191548 w 642366"/>
                <a:gd name="connsiteY122" fmla="*/ 149638 h 150114"/>
                <a:gd name="connsiteX123" fmla="*/ 185356 w 642366"/>
                <a:gd name="connsiteY123" fmla="*/ 126492 h 150114"/>
                <a:gd name="connsiteX124" fmla="*/ 179070 w 642366"/>
                <a:gd name="connsiteY124" fmla="*/ 149638 h 150114"/>
                <a:gd name="connsiteX125" fmla="*/ 172593 w 642366"/>
                <a:gd name="connsiteY125" fmla="*/ 149638 h 150114"/>
                <a:gd name="connsiteX126" fmla="*/ 163925 w 642366"/>
                <a:gd name="connsiteY126" fmla="*/ 119729 h 150114"/>
                <a:gd name="connsiteX127" fmla="*/ 169259 w 642366"/>
                <a:gd name="connsiteY127" fmla="*/ 119729 h 150114"/>
                <a:gd name="connsiteX128" fmla="*/ 175831 w 642366"/>
                <a:gd name="connsiteY128" fmla="*/ 143923 h 150114"/>
                <a:gd name="connsiteX129" fmla="*/ 182118 w 642366"/>
                <a:gd name="connsiteY129" fmla="*/ 119729 h 150114"/>
                <a:gd name="connsiteX130" fmla="*/ 188595 w 642366"/>
                <a:gd name="connsiteY130" fmla="*/ 119729 h 150114"/>
                <a:gd name="connsiteX131" fmla="*/ 194691 w 642366"/>
                <a:gd name="connsiteY131" fmla="*/ 143923 h 150114"/>
                <a:gd name="connsiteX132" fmla="*/ 201454 w 642366"/>
                <a:gd name="connsiteY132" fmla="*/ 119729 h 150114"/>
                <a:gd name="connsiteX133" fmla="*/ 201454 w 642366"/>
                <a:gd name="connsiteY133" fmla="*/ 119729 h 150114"/>
                <a:gd name="connsiteX134" fmla="*/ 152876 w 642366"/>
                <a:gd name="connsiteY134" fmla="*/ 135541 h 150114"/>
                <a:gd name="connsiteX135" fmla="*/ 154877 w 642366"/>
                <a:gd name="connsiteY135" fmla="*/ 141446 h 150114"/>
                <a:gd name="connsiteX136" fmla="*/ 151924 w 642366"/>
                <a:gd name="connsiteY136" fmla="*/ 147923 h 150114"/>
                <a:gd name="connsiteX137" fmla="*/ 143256 w 642366"/>
                <a:gd name="connsiteY137" fmla="*/ 150114 h 150114"/>
                <a:gd name="connsiteX138" fmla="*/ 134112 w 642366"/>
                <a:gd name="connsiteY138" fmla="*/ 147733 h 150114"/>
                <a:gd name="connsiteX139" fmla="*/ 130493 w 642366"/>
                <a:gd name="connsiteY139" fmla="*/ 140875 h 150114"/>
                <a:gd name="connsiteX140" fmla="*/ 135922 w 642366"/>
                <a:gd name="connsiteY140" fmla="*/ 140875 h 150114"/>
                <a:gd name="connsiteX141" fmla="*/ 143351 w 642366"/>
                <a:gd name="connsiteY141" fmla="*/ 145733 h 150114"/>
                <a:gd name="connsiteX142" fmla="*/ 148304 w 642366"/>
                <a:gd name="connsiteY142" fmla="*/ 144494 h 150114"/>
                <a:gd name="connsiteX143" fmla="*/ 149828 w 642366"/>
                <a:gd name="connsiteY143" fmla="*/ 141446 h 150114"/>
                <a:gd name="connsiteX144" fmla="*/ 145828 w 642366"/>
                <a:gd name="connsiteY144" fmla="*/ 137446 h 150114"/>
                <a:gd name="connsiteX145" fmla="*/ 139541 w 642366"/>
                <a:gd name="connsiteY145" fmla="*/ 136398 h 150114"/>
                <a:gd name="connsiteX146" fmla="*/ 133350 w 642366"/>
                <a:gd name="connsiteY146" fmla="*/ 133541 h 150114"/>
                <a:gd name="connsiteX147" fmla="*/ 131350 w 642366"/>
                <a:gd name="connsiteY147" fmla="*/ 127730 h 150114"/>
                <a:gd name="connsiteX148" fmla="*/ 132683 w 642366"/>
                <a:gd name="connsiteY148" fmla="*/ 123444 h 150114"/>
                <a:gd name="connsiteX149" fmla="*/ 136493 w 642366"/>
                <a:gd name="connsiteY149" fmla="*/ 120396 h 150114"/>
                <a:gd name="connsiteX150" fmla="*/ 142399 w 642366"/>
                <a:gd name="connsiteY150" fmla="*/ 119253 h 150114"/>
                <a:gd name="connsiteX151" fmla="*/ 150876 w 642366"/>
                <a:gd name="connsiteY151" fmla="*/ 121634 h 150114"/>
                <a:gd name="connsiteX152" fmla="*/ 154305 w 642366"/>
                <a:gd name="connsiteY152" fmla="*/ 128206 h 150114"/>
                <a:gd name="connsiteX153" fmla="*/ 148971 w 642366"/>
                <a:gd name="connsiteY153" fmla="*/ 128206 h 150114"/>
                <a:gd name="connsiteX154" fmla="*/ 142399 w 642366"/>
                <a:gd name="connsiteY154" fmla="*/ 123634 h 150114"/>
                <a:gd name="connsiteX155" fmla="*/ 137827 w 642366"/>
                <a:gd name="connsiteY155" fmla="*/ 124778 h 150114"/>
                <a:gd name="connsiteX156" fmla="*/ 136398 w 642366"/>
                <a:gd name="connsiteY156" fmla="*/ 127730 h 150114"/>
                <a:gd name="connsiteX157" fmla="*/ 140113 w 642366"/>
                <a:gd name="connsiteY157" fmla="*/ 131540 h 150114"/>
                <a:gd name="connsiteX158" fmla="*/ 147066 w 642366"/>
                <a:gd name="connsiteY158" fmla="*/ 132779 h 150114"/>
                <a:gd name="connsiteX159" fmla="*/ 152876 w 642366"/>
                <a:gd name="connsiteY159" fmla="*/ 135731 h 150114"/>
                <a:gd name="connsiteX160" fmla="*/ 152876 w 642366"/>
                <a:gd name="connsiteY160" fmla="*/ 135731 h 150114"/>
                <a:gd name="connsiteX161" fmla="*/ 642271 w 642366"/>
                <a:gd name="connsiteY161" fmla="*/ 76962 h 150114"/>
                <a:gd name="connsiteX162" fmla="*/ 642271 w 642366"/>
                <a:gd name="connsiteY162" fmla="*/ 89821 h 150114"/>
                <a:gd name="connsiteX163" fmla="*/ 576929 w 642366"/>
                <a:gd name="connsiteY163" fmla="*/ 89821 h 150114"/>
                <a:gd name="connsiteX164" fmla="*/ 576929 w 642366"/>
                <a:gd name="connsiteY164" fmla="*/ 191 h 150114"/>
                <a:gd name="connsiteX165" fmla="*/ 641604 w 642366"/>
                <a:gd name="connsiteY165" fmla="*/ 191 h 150114"/>
                <a:gd name="connsiteX166" fmla="*/ 641604 w 642366"/>
                <a:gd name="connsiteY166" fmla="*/ 13049 h 150114"/>
                <a:gd name="connsiteX167" fmla="*/ 592169 w 642366"/>
                <a:gd name="connsiteY167" fmla="*/ 13049 h 150114"/>
                <a:gd name="connsiteX168" fmla="*/ 592169 w 642366"/>
                <a:gd name="connsiteY168" fmla="*/ 36767 h 150114"/>
                <a:gd name="connsiteX169" fmla="*/ 639128 w 642366"/>
                <a:gd name="connsiteY169" fmla="*/ 36767 h 150114"/>
                <a:gd name="connsiteX170" fmla="*/ 639128 w 642366"/>
                <a:gd name="connsiteY170" fmla="*/ 49625 h 150114"/>
                <a:gd name="connsiteX171" fmla="*/ 592169 w 642366"/>
                <a:gd name="connsiteY171" fmla="*/ 49625 h 150114"/>
                <a:gd name="connsiteX172" fmla="*/ 592169 w 642366"/>
                <a:gd name="connsiteY172" fmla="*/ 76867 h 150114"/>
                <a:gd name="connsiteX173" fmla="*/ 642366 w 642366"/>
                <a:gd name="connsiteY173" fmla="*/ 76867 h 150114"/>
                <a:gd name="connsiteX174" fmla="*/ 542830 w 642366"/>
                <a:gd name="connsiteY174" fmla="*/ 191 h 150114"/>
                <a:gd name="connsiteX175" fmla="*/ 557974 w 642366"/>
                <a:gd name="connsiteY175" fmla="*/ 191 h 150114"/>
                <a:gd name="connsiteX176" fmla="*/ 557974 w 642366"/>
                <a:gd name="connsiteY176" fmla="*/ 89821 h 150114"/>
                <a:gd name="connsiteX177" fmla="*/ 542830 w 642366"/>
                <a:gd name="connsiteY177" fmla="*/ 89821 h 150114"/>
                <a:gd name="connsiteX178" fmla="*/ 542830 w 642366"/>
                <a:gd name="connsiteY178" fmla="*/ 191 h 150114"/>
                <a:gd name="connsiteX179" fmla="*/ 542830 w 642366"/>
                <a:gd name="connsiteY179" fmla="*/ 191 h 150114"/>
                <a:gd name="connsiteX180" fmla="*/ 468439 w 642366"/>
                <a:gd name="connsiteY180" fmla="*/ 42577 h 150114"/>
                <a:gd name="connsiteX181" fmla="*/ 468439 w 642366"/>
                <a:gd name="connsiteY181" fmla="*/ 13049 h 150114"/>
                <a:gd name="connsiteX182" fmla="*/ 493681 w 642366"/>
                <a:gd name="connsiteY182" fmla="*/ 13049 h 150114"/>
                <a:gd name="connsiteX183" fmla="*/ 505778 w 642366"/>
                <a:gd name="connsiteY183" fmla="*/ 16955 h 150114"/>
                <a:gd name="connsiteX184" fmla="*/ 509969 w 642366"/>
                <a:gd name="connsiteY184" fmla="*/ 27813 h 150114"/>
                <a:gd name="connsiteX185" fmla="*/ 505778 w 642366"/>
                <a:gd name="connsiteY185" fmla="*/ 38671 h 150114"/>
                <a:gd name="connsiteX186" fmla="*/ 493681 w 642366"/>
                <a:gd name="connsiteY186" fmla="*/ 42577 h 150114"/>
                <a:gd name="connsiteX187" fmla="*/ 468439 w 642366"/>
                <a:gd name="connsiteY187" fmla="*/ 42577 h 150114"/>
                <a:gd name="connsiteX188" fmla="*/ 520160 w 642366"/>
                <a:gd name="connsiteY188" fmla="*/ 45244 h 150114"/>
                <a:gd name="connsiteX189" fmla="*/ 525875 w 642366"/>
                <a:gd name="connsiteY189" fmla="*/ 27718 h 150114"/>
                <a:gd name="connsiteX190" fmla="*/ 522256 w 642366"/>
                <a:gd name="connsiteY190" fmla="*/ 13430 h 150114"/>
                <a:gd name="connsiteX191" fmla="*/ 511683 w 642366"/>
                <a:gd name="connsiteY191" fmla="*/ 3620 h 150114"/>
                <a:gd name="connsiteX192" fmla="*/ 495110 w 642366"/>
                <a:gd name="connsiteY192" fmla="*/ 95 h 150114"/>
                <a:gd name="connsiteX193" fmla="*/ 453295 w 642366"/>
                <a:gd name="connsiteY193" fmla="*/ 95 h 150114"/>
                <a:gd name="connsiteX194" fmla="*/ 453295 w 642366"/>
                <a:gd name="connsiteY194" fmla="*/ 89726 h 150114"/>
                <a:gd name="connsiteX195" fmla="*/ 468439 w 642366"/>
                <a:gd name="connsiteY195" fmla="*/ 89726 h 150114"/>
                <a:gd name="connsiteX196" fmla="*/ 468439 w 642366"/>
                <a:gd name="connsiteY196" fmla="*/ 55435 h 150114"/>
                <a:gd name="connsiteX197" fmla="*/ 487013 w 642366"/>
                <a:gd name="connsiteY197" fmla="*/ 55435 h 150114"/>
                <a:gd name="connsiteX198" fmla="*/ 512255 w 642366"/>
                <a:gd name="connsiteY198" fmla="*/ 89726 h 150114"/>
                <a:gd name="connsiteX199" fmla="*/ 530828 w 642366"/>
                <a:gd name="connsiteY199" fmla="*/ 89726 h 150114"/>
                <a:gd name="connsiteX200" fmla="*/ 504063 w 642366"/>
                <a:gd name="connsiteY200" fmla="*/ 54483 h 150114"/>
                <a:gd name="connsiteX201" fmla="*/ 520160 w 642366"/>
                <a:gd name="connsiteY201" fmla="*/ 45244 h 150114"/>
                <a:gd name="connsiteX202" fmla="*/ 520160 w 642366"/>
                <a:gd name="connsiteY202" fmla="*/ 45244 h 150114"/>
                <a:gd name="connsiteX203" fmla="*/ 434435 w 642366"/>
                <a:gd name="connsiteY203" fmla="*/ 89726 h 150114"/>
                <a:gd name="connsiteX204" fmla="*/ 419290 w 642366"/>
                <a:gd name="connsiteY204" fmla="*/ 89726 h 150114"/>
                <a:gd name="connsiteX205" fmla="*/ 419290 w 642366"/>
                <a:gd name="connsiteY205" fmla="*/ 95 h 150114"/>
                <a:gd name="connsiteX206" fmla="*/ 434435 w 642366"/>
                <a:gd name="connsiteY206" fmla="*/ 95 h 150114"/>
                <a:gd name="connsiteX207" fmla="*/ 434435 w 642366"/>
                <a:gd name="connsiteY207" fmla="*/ 89726 h 150114"/>
                <a:gd name="connsiteX208" fmla="*/ 434435 w 642366"/>
                <a:gd name="connsiteY208" fmla="*/ 89726 h 150114"/>
                <a:gd name="connsiteX209" fmla="*/ 269081 w 642366"/>
                <a:gd name="connsiteY209" fmla="*/ 42481 h 150114"/>
                <a:gd name="connsiteX210" fmla="*/ 269081 w 642366"/>
                <a:gd name="connsiteY210" fmla="*/ 12954 h 150114"/>
                <a:gd name="connsiteX211" fmla="*/ 294322 w 642366"/>
                <a:gd name="connsiteY211" fmla="*/ 12954 h 150114"/>
                <a:gd name="connsiteX212" fmla="*/ 306419 w 642366"/>
                <a:gd name="connsiteY212" fmla="*/ 16859 h 150114"/>
                <a:gd name="connsiteX213" fmla="*/ 310610 w 642366"/>
                <a:gd name="connsiteY213" fmla="*/ 27718 h 150114"/>
                <a:gd name="connsiteX214" fmla="*/ 306419 w 642366"/>
                <a:gd name="connsiteY214" fmla="*/ 38576 h 150114"/>
                <a:gd name="connsiteX215" fmla="*/ 294322 w 642366"/>
                <a:gd name="connsiteY215" fmla="*/ 42481 h 150114"/>
                <a:gd name="connsiteX216" fmla="*/ 269081 w 642366"/>
                <a:gd name="connsiteY216" fmla="*/ 42481 h 150114"/>
                <a:gd name="connsiteX217" fmla="*/ 365760 w 642366"/>
                <a:gd name="connsiteY217" fmla="*/ 14669 h 150114"/>
                <a:gd name="connsiteX218" fmla="*/ 380143 w 642366"/>
                <a:gd name="connsiteY218" fmla="*/ 54578 h 150114"/>
                <a:gd name="connsiteX219" fmla="*/ 350996 w 642366"/>
                <a:gd name="connsiteY219" fmla="*/ 54578 h 150114"/>
                <a:gd name="connsiteX220" fmla="*/ 365760 w 642366"/>
                <a:gd name="connsiteY220" fmla="*/ 14669 h 150114"/>
                <a:gd name="connsiteX221" fmla="*/ 365760 w 642366"/>
                <a:gd name="connsiteY221" fmla="*/ 14669 h 150114"/>
                <a:gd name="connsiteX222" fmla="*/ 384810 w 642366"/>
                <a:gd name="connsiteY222" fmla="*/ 67437 h 150114"/>
                <a:gd name="connsiteX223" fmla="*/ 392716 w 642366"/>
                <a:gd name="connsiteY223" fmla="*/ 89630 h 150114"/>
                <a:gd name="connsiteX224" fmla="*/ 409289 w 642366"/>
                <a:gd name="connsiteY224" fmla="*/ 89630 h 150114"/>
                <a:gd name="connsiteX225" fmla="*/ 374618 w 642366"/>
                <a:gd name="connsiteY225" fmla="*/ 0 h 150114"/>
                <a:gd name="connsiteX226" fmla="*/ 357092 w 642366"/>
                <a:gd name="connsiteY226" fmla="*/ 0 h 150114"/>
                <a:gd name="connsiteX227" fmla="*/ 325184 w 642366"/>
                <a:gd name="connsiteY227" fmla="*/ 81344 h 150114"/>
                <a:gd name="connsiteX228" fmla="*/ 304705 w 642366"/>
                <a:gd name="connsiteY228" fmla="*/ 54483 h 150114"/>
                <a:gd name="connsiteX229" fmla="*/ 320802 w 642366"/>
                <a:gd name="connsiteY229" fmla="*/ 45244 h 150114"/>
                <a:gd name="connsiteX230" fmla="*/ 326517 w 642366"/>
                <a:gd name="connsiteY230" fmla="*/ 27718 h 150114"/>
                <a:gd name="connsiteX231" fmla="*/ 322897 w 642366"/>
                <a:gd name="connsiteY231" fmla="*/ 13430 h 150114"/>
                <a:gd name="connsiteX232" fmla="*/ 312325 w 642366"/>
                <a:gd name="connsiteY232" fmla="*/ 3620 h 150114"/>
                <a:gd name="connsiteX233" fmla="*/ 295751 w 642366"/>
                <a:gd name="connsiteY233" fmla="*/ 95 h 150114"/>
                <a:gd name="connsiteX234" fmla="*/ 253937 w 642366"/>
                <a:gd name="connsiteY234" fmla="*/ 95 h 150114"/>
                <a:gd name="connsiteX235" fmla="*/ 253937 w 642366"/>
                <a:gd name="connsiteY235" fmla="*/ 89726 h 150114"/>
                <a:gd name="connsiteX236" fmla="*/ 269081 w 642366"/>
                <a:gd name="connsiteY236" fmla="*/ 89726 h 150114"/>
                <a:gd name="connsiteX237" fmla="*/ 269081 w 642366"/>
                <a:gd name="connsiteY237" fmla="*/ 55435 h 150114"/>
                <a:gd name="connsiteX238" fmla="*/ 287655 w 642366"/>
                <a:gd name="connsiteY238" fmla="*/ 55435 h 150114"/>
                <a:gd name="connsiteX239" fmla="*/ 312896 w 642366"/>
                <a:gd name="connsiteY239" fmla="*/ 89726 h 150114"/>
                <a:gd name="connsiteX240" fmla="*/ 338138 w 642366"/>
                <a:gd name="connsiteY240" fmla="*/ 89726 h 150114"/>
                <a:gd name="connsiteX241" fmla="*/ 346329 w 642366"/>
                <a:gd name="connsiteY241" fmla="*/ 67532 h 150114"/>
                <a:gd name="connsiteX242" fmla="*/ 384810 w 642366"/>
                <a:gd name="connsiteY242" fmla="*/ 67532 h 150114"/>
                <a:gd name="connsiteX243" fmla="*/ 219646 w 642366"/>
                <a:gd name="connsiteY243" fmla="*/ 38957 h 150114"/>
                <a:gd name="connsiteX244" fmla="*/ 207454 w 642366"/>
                <a:gd name="connsiteY244" fmla="*/ 42958 h 150114"/>
                <a:gd name="connsiteX245" fmla="*/ 184023 w 642366"/>
                <a:gd name="connsiteY245" fmla="*/ 42958 h 150114"/>
                <a:gd name="connsiteX246" fmla="*/ 184023 w 642366"/>
                <a:gd name="connsiteY246" fmla="*/ 12954 h 150114"/>
                <a:gd name="connsiteX247" fmla="*/ 207454 w 642366"/>
                <a:gd name="connsiteY247" fmla="*/ 12954 h 150114"/>
                <a:gd name="connsiteX248" fmla="*/ 219646 w 642366"/>
                <a:gd name="connsiteY248" fmla="*/ 16955 h 150114"/>
                <a:gd name="connsiteX249" fmla="*/ 224028 w 642366"/>
                <a:gd name="connsiteY249" fmla="*/ 28004 h 150114"/>
                <a:gd name="connsiteX250" fmla="*/ 219646 w 642366"/>
                <a:gd name="connsiteY250" fmla="*/ 39053 h 150114"/>
                <a:gd name="connsiteX251" fmla="*/ 219646 w 642366"/>
                <a:gd name="connsiteY251" fmla="*/ 39053 h 150114"/>
                <a:gd name="connsiteX252" fmla="*/ 236029 w 642366"/>
                <a:gd name="connsiteY252" fmla="*/ 13430 h 150114"/>
                <a:gd name="connsiteX253" fmla="*/ 225457 w 642366"/>
                <a:gd name="connsiteY253" fmla="*/ 3620 h 150114"/>
                <a:gd name="connsiteX254" fmla="*/ 208883 w 642366"/>
                <a:gd name="connsiteY254" fmla="*/ 95 h 150114"/>
                <a:gd name="connsiteX255" fmla="*/ 168878 w 642366"/>
                <a:gd name="connsiteY255" fmla="*/ 95 h 150114"/>
                <a:gd name="connsiteX256" fmla="*/ 168878 w 642366"/>
                <a:gd name="connsiteY256" fmla="*/ 89726 h 150114"/>
                <a:gd name="connsiteX257" fmla="*/ 184023 w 642366"/>
                <a:gd name="connsiteY257" fmla="*/ 89726 h 150114"/>
                <a:gd name="connsiteX258" fmla="*/ 184023 w 642366"/>
                <a:gd name="connsiteY258" fmla="*/ 55912 h 150114"/>
                <a:gd name="connsiteX259" fmla="*/ 208883 w 642366"/>
                <a:gd name="connsiteY259" fmla="*/ 55912 h 150114"/>
                <a:gd name="connsiteX260" fmla="*/ 231457 w 642366"/>
                <a:gd name="connsiteY260" fmla="*/ 48292 h 150114"/>
                <a:gd name="connsiteX261" fmla="*/ 239649 w 642366"/>
                <a:gd name="connsiteY261" fmla="*/ 28004 h 150114"/>
                <a:gd name="connsiteX262" fmla="*/ 236029 w 642366"/>
                <a:gd name="connsiteY262" fmla="*/ 13526 h 150114"/>
                <a:gd name="connsiteX263" fmla="*/ 236029 w 642366"/>
                <a:gd name="connsiteY263" fmla="*/ 13526 h 150114"/>
                <a:gd name="connsiteX264" fmla="*/ 72485 w 642366"/>
                <a:gd name="connsiteY264" fmla="*/ 54578 h 150114"/>
                <a:gd name="connsiteX265" fmla="*/ 87249 w 642366"/>
                <a:gd name="connsiteY265" fmla="*/ 14669 h 150114"/>
                <a:gd name="connsiteX266" fmla="*/ 101632 w 642366"/>
                <a:gd name="connsiteY266" fmla="*/ 54578 h 150114"/>
                <a:gd name="connsiteX267" fmla="*/ 72485 w 642366"/>
                <a:gd name="connsiteY267" fmla="*/ 54578 h 150114"/>
                <a:gd name="connsiteX268" fmla="*/ 96107 w 642366"/>
                <a:gd name="connsiteY268" fmla="*/ 0 h 150114"/>
                <a:gd name="connsiteX269" fmla="*/ 78581 w 642366"/>
                <a:gd name="connsiteY269" fmla="*/ 0 h 150114"/>
                <a:gd name="connsiteX270" fmla="*/ 48387 w 642366"/>
                <a:gd name="connsiteY270" fmla="*/ 76771 h 150114"/>
                <a:gd name="connsiteX271" fmla="*/ 15145 w 642366"/>
                <a:gd name="connsiteY271" fmla="*/ 76771 h 150114"/>
                <a:gd name="connsiteX272" fmla="*/ 15145 w 642366"/>
                <a:gd name="connsiteY272" fmla="*/ 0 h 150114"/>
                <a:gd name="connsiteX273" fmla="*/ 0 w 642366"/>
                <a:gd name="connsiteY273" fmla="*/ 0 h 150114"/>
                <a:gd name="connsiteX274" fmla="*/ 0 w 642366"/>
                <a:gd name="connsiteY274" fmla="*/ 89630 h 150114"/>
                <a:gd name="connsiteX275" fmla="*/ 59627 w 642366"/>
                <a:gd name="connsiteY275" fmla="*/ 89630 h 150114"/>
                <a:gd name="connsiteX276" fmla="*/ 67818 w 642366"/>
                <a:gd name="connsiteY276" fmla="*/ 67437 h 150114"/>
                <a:gd name="connsiteX277" fmla="*/ 106299 w 642366"/>
                <a:gd name="connsiteY277" fmla="*/ 67437 h 150114"/>
                <a:gd name="connsiteX278" fmla="*/ 114205 w 642366"/>
                <a:gd name="connsiteY278" fmla="*/ 89630 h 150114"/>
                <a:gd name="connsiteX279" fmla="*/ 130778 w 642366"/>
                <a:gd name="connsiteY279" fmla="*/ 89630 h 150114"/>
                <a:gd name="connsiteX280" fmla="*/ 96107 w 642366"/>
                <a:gd name="connsiteY280" fmla="*/ 0 h 150114"/>
                <a:gd name="connsiteX281" fmla="*/ 96107 w 642366"/>
                <a:gd name="connsiteY281" fmla="*/ 0 h 15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</a:cxnLst>
              <a:rect l="l" t="t" r="r" b="b"/>
              <a:pathLst>
                <a:path w="642366" h="150114">
                  <a:moveTo>
                    <a:pt x="504158" y="142399"/>
                  </a:moveTo>
                  <a:cubicBezTo>
                    <a:pt x="502539" y="144399"/>
                    <a:pt x="500253" y="145352"/>
                    <a:pt x="497396" y="145352"/>
                  </a:cubicBezTo>
                  <a:lnTo>
                    <a:pt x="490919" y="145352"/>
                  </a:lnTo>
                  <a:lnTo>
                    <a:pt x="490919" y="124016"/>
                  </a:lnTo>
                  <a:lnTo>
                    <a:pt x="497396" y="124016"/>
                  </a:lnTo>
                  <a:cubicBezTo>
                    <a:pt x="499301" y="124016"/>
                    <a:pt x="500920" y="124492"/>
                    <a:pt x="502348" y="125349"/>
                  </a:cubicBezTo>
                  <a:cubicBezTo>
                    <a:pt x="503777" y="126206"/>
                    <a:pt x="504825" y="127540"/>
                    <a:pt x="505587" y="129064"/>
                  </a:cubicBezTo>
                  <a:cubicBezTo>
                    <a:pt x="506349" y="130683"/>
                    <a:pt x="506730" y="132493"/>
                    <a:pt x="506730" y="134588"/>
                  </a:cubicBezTo>
                  <a:cubicBezTo>
                    <a:pt x="506730" y="137827"/>
                    <a:pt x="505873" y="140399"/>
                    <a:pt x="504254" y="142304"/>
                  </a:cubicBezTo>
                  <a:lnTo>
                    <a:pt x="504254" y="142304"/>
                  </a:lnTo>
                  <a:close/>
                  <a:moveTo>
                    <a:pt x="505015" y="121634"/>
                  </a:moveTo>
                  <a:cubicBezTo>
                    <a:pt x="502825" y="120396"/>
                    <a:pt x="500348" y="119729"/>
                    <a:pt x="497491" y="119729"/>
                  </a:cubicBezTo>
                  <a:lnTo>
                    <a:pt x="485775" y="119729"/>
                  </a:lnTo>
                  <a:lnTo>
                    <a:pt x="485775" y="149638"/>
                  </a:lnTo>
                  <a:lnTo>
                    <a:pt x="497491" y="149638"/>
                  </a:lnTo>
                  <a:cubicBezTo>
                    <a:pt x="500348" y="149638"/>
                    <a:pt x="502825" y="148971"/>
                    <a:pt x="505015" y="147733"/>
                  </a:cubicBezTo>
                  <a:cubicBezTo>
                    <a:pt x="507206" y="146494"/>
                    <a:pt x="508826" y="144685"/>
                    <a:pt x="509969" y="142399"/>
                  </a:cubicBezTo>
                  <a:cubicBezTo>
                    <a:pt x="511112" y="140113"/>
                    <a:pt x="511683" y="137541"/>
                    <a:pt x="511683" y="134588"/>
                  </a:cubicBezTo>
                  <a:cubicBezTo>
                    <a:pt x="511683" y="131636"/>
                    <a:pt x="511112" y="129159"/>
                    <a:pt x="509873" y="126873"/>
                  </a:cubicBezTo>
                  <a:cubicBezTo>
                    <a:pt x="508730" y="124587"/>
                    <a:pt x="507016" y="122873"/>
                    <a:pt x="504825" y="121634"/>
                  </a:cubicBezTo>
                  <a:lnTo>
                    <a:pt x="504825" y="121634"/>
                  </a:lnTo>
                  <a:close/>
                  <a:moveTo>
                    <a:pt x="467201" y="119729"/>
                  </a:moveTo>
                  <a:lnTo>
                    <a:pt x="471869" y="119729"/>
                  </a:lnTo>
                  <a:lnTo>
                    <a:pt x="471869" y="149638"/>
                  </a:lnTo>
                  <a:lnTo>
                    <a:pt x="465772" y="149638"/>
                  </a:lnTo>
                  <a:lnTo>
                    <a:pt x="450818" y="126873"/>
                  </a:lnTo>
                  <a:lnTo>
                    <a:pt x="450818" y="149638"/>
                  </a:lnTo>
                  <a:lnTo>
                    <a:pt x="446151" y="149638"/>
                  </a:lnTo>
                  <a:lnTo>
                    <a:pt x="446151" y="119729"/>
                  </a:lnTo>
                  <a:lnTo>
                    <a:pt x="452152" y="119729"/>
                  </a:lnTo>
                  <a:lnTo>
                    <a:pt x="467201" y="142494"/>
                  </a:lnTo>
                  <a:lnTo>
                    <a:pt x="467201" y="119729"/>
                  </a:lnTo>
                  <a:lnTo>
                    <a:pt x="467201" y="119729"/>
                  </a:lnTo>
                  <a:close/>
                  <a:moveTo>
                    <a:pt x="415862" y="137922"/>
                  </a:moveTo>
                  <a:lnTo>
                    <a:pt x="420814" y="124587"/>
                  </a:lnTo>
                  <a:lnTo>
                    <a:pt x="425577" y="137922"/>
                  </a:lnTo>
                  <a:lnTo>
                    <a:pt x="415862" y="137922"/>
                  </a:lnTo>
                  <a:close/>
                  <a:moveTo>
                    <a:pt x="417862" y="119729"/>
                  </a:moveTo>
                  <a:lnTo>
                    <a:pt x="406146" y="149638"/>
                  </a:lnTo>
                  <a:lnTo>
                    <a:pt x="411575" y="149638"/>
                  </a:lnTo>
                  <a:lnTo>
                    <a:pt x="414338" y="142208"/>
                  </a:lnTo>
                  <a:lnTo>
                    <a:pt x="427196" y="142208"/>
                  </a:lnTo>
                  <a:lnTo>
                    <a:pt x="429863" y="149638"/>
                  </a:lnTo>
                  <a:lnTo>
                    <a:pt x="435388" y="149638"/>
                  </a:lnTo>
                  <a:lnTo>
                    <a:pt x="423863" y="119729"/>
                  </a:lnTo>
                  <a:lnTo>
                    <a:pt x="418052" y="119729"/>
                  </a:lnTo>
                  <a:close/>
                  <a:moveTo>
                    <a:pt x="382905" y="145352"/>
                  </a:moveTo>
                  <a:lnTo>
                    <a:pt x="397193" y="145352"/>
                  </a:lnTo>
                  <a:lnTo>
                    <a:pt x="397193" y="149638"/>
                  </a:lnTo>
                  <a:lnTo>
                    <a:pt x="377857" y="149638"/>
                  </a:lnTo>
                  <a:lnTo>
                    <a:pt x="377857" y="119729"/>
                  </a:lnTo>
                  <a:lnTo>
                    <a:pt x="382905" y="119729"/>
                  </a:lnTo>
                  <a:lnTo>
                    <a:pt x="382905" y="145352"/>
                  </a:lnTo>
                  <a:lnTo>
                    <a:pt x="382905" y="145352"/>
                  </a:lnTo>
                  <a:close/>
                  <a:moveTo>
                    <a:pt x="345472" y="133922"/>
                  </a:moveTo>
                  <a:lnTo>
                    <a:pt x="345472" y="124111"/>
                  </a:lnTo>
                  <a:lnTo>
                    <a:pt x="353854" y="124111"/>
                  </a:lnTo>
                  <a:cubicBezTo>
                    <a:pt x="355568" y="124111"/>
                    <a:pt x="356902" y="124587"/>
                    <a:pt x="357854" y="125444"/>
                  </a:cubicBezTo>
                  <a:cubicBezTo>
                    <a:pt x="358807" y="126302"/>
                    <a:pt x="359283" y="127540"/>
                    <a:pt x="359283" y="129064"/>
                  </a:cubicBezTo>
                  <a:cubicBezTo>
                    <a:pt x="359283" y="130588"/>
                    <a:pt x="358807" y="131826"/>
                    <a:pt x="357854" y="132683"/>
                  </a:cubicBezTo>
                  <a:cubicBezTo>
                    <a:pt x="356902" y="133541"/>
                    <a:pt x="355568" y="134017"/>
                    <a:pt x="353854" y="134017"/>
                  </a:cubicBezTo>
                  <a:lnTo>
                    <a:pt x="345472" y="134017"/>
                  </a:lnTo>
                  <a:close/>
                  <a:moveTo>
                    <a:pt x="362712" y="134779"/>
                  </a:moveTo>
                  <a:cubicBezTo>
                    <a:pt x="363950" y="133160"/>
                    <a:pt x="364617" y="131255"/>
                    <a:pt x="364617" y="128969"/>
                  </a:cubicBezTo>
                  <a:cubicBezTo>
                    <a:pt x="364617" y="127159"/>
                    <a:pt x="364236" y="125540"/>
                    <a:pt x="363379" y="124206"/>
                  </a:cubicBezTo>
                  <a:cubicBezTo>
                    <a:pt x="362617" y="122777"/>
                    <a:pt x="361379" y="121730"/>
                    <a:pt x="359855" y="120968"/>
                  </a:cubicBezTo>
                  <a:cubicBezTo>
                    <a:pt x="358330" y="120206"/>
                    <a:pt x="356426" y="119825"/>
                    <a:pt x="354330" y="119825"/>
                  </a:cubicBezTo>
                  <a:lnTo>
                    <a:pt x="340423" y="119825"/>
                  </a:lnTo>
                  <a:lnTo>
                    <a:pt x="340423" y="149733"/>
                  </a:lnTo>
                  <a:lnTo>
                    <a:pt x="345472" y="149733"/>
                  </a:lnTo>
                  <a:lnTo>
                    <a:pt x="345472" y="138303"/>
                  </a:lnTo>
                  <a:lnTo>
                    <a:pt x="351663" y="138303"/>
                  </a:lnTo>
                  <a:lnTo>
                    <a:pt x="360045" y="149733"/>
                  </a:lnTo>
                  <a:lnTo>
                    <a:pt x="366236" y="149733"/>
                  </a:lnTo>
                  <a:lnTo>
                    <a:pt x="357283" y="138017"/>
                  </a:lnTo>
                  <a:cubicBezTo>
                    <a:pt x="359569" y="137541"/>
                    <a:pt x="361379" y="136493"/>
                    <a:pt x="362617" y="134969"/>
                  </a:cubicBezTo>
                  <a:lnTo>
                    <a:pt x="362617" y="134969"/>
                  </a:lnTo>
                  <a:close/>
                  <a:moveTo>
                    <a:pt x="310896" y="145352"/>
                  </a:moveTo>
                  <a:lnTo>
                    <a:pt x="327660" y="145352"/>
                  </a:lnTo>
                  <a:lnTo>
                    <a:pt x="327660" y="149638"/>
                  </a:lnTo>
                  <a:lnTo>
                    <a:pt x="305848" y="149638"/>
                  </a:lnTo>
                  <a:lnTo>
                    <a:pt x="305848" y="119729"/>
                  </a:lnTo>
                  <a:lnTo>
                    <a:pt x="327374" y="119729"/>
                  </a:lnTo>
                  <a:lnTo>
                    <a:pt x="327374" y="124016"/>
                  </a:lnTo>
                  <a:lnTo>
                    <a:pt x="310896" y="124016"/>
                  </a:lnTo>
                  <a:lnTo>
                    <a:pt x="310896" y="131921"/>
                  </a:lnTo>
                  <a:lnTo>
                    <a:pt x="326517" y="131921"/>
                  </a:lnTo>
                  <a:lnTo>
                    <a:pt x="326517" y="136208"/>
                  </a:lnTo>
                  <a:lnTo>
                    <a:pt x="310896" y="136208"/>
                  </a:lnTo>
                  <a:lnTo>
                    <a:pt x="310896" y="145256"/>
                  </a:lnTo>
                  <a:lnTo>
                    <a:pt x="310896" y="145256"/>
                  </a:lnTo>
                  <a:close/>
                  <a:moveTo>
                    <a:pt x="275939" y="145352"/>
                  </a:moveTo>
                  <a:lnTo>
                    <a:pt x="293846" y="145352"/>
                  </a:lnTo>
                  <a:lnTo>
                    <a:pt x="293846" y="149638"/>
                  </a:lnTo>
                  <a:lnTo>
                    <a:pt x="269272" y="149638"/>
                  </a:lnTo>
                  <a:lnTo>
                    <a:pt x="269272" y="145733"/>
                  </a:lnTo>
                  <a:lnTo>
                    <a:pt x="286893" y="124016"/>
                  </a:lnTo>
                  <a:lnTo>
                    <a:pt x="269938" y="124016"/>
                  </a:lnTo>
                  <a:lnTo>
                    <a:pt x="269938" y="119729"/>
                  </a:lnTo>
                  <a:lnTo>
                    <a:pt x="293465" y="119729"/>
                  </a:lnTo>
                  <a:lnTo>
                    <a:pt x="293465" y="123634"/>
                  </a:lnTo>
                  <a:lnTo>
                    <a:pt x="275844" y="145352"/>
                  </a:lnTo>
                  <a:lnTo>
                    <a:pt x="275844" y="145352"/>
                  </a:lnTo>
                  <a:close/>
                  <a:moveTo>
                    <a:pt x="234601" y="119729"/>
                  </a:moveTo>
                  <a:lnTo>
                    <a:pt x="259461" y="119729"/>
                  </a:lnTo>
                  <a:lnTo>
                    <a:pt x="259461" y="124016"/>
                  </a:lnTo>
                  <a:lnTo>
                    <a:pt x="249555" y="124016"/>
                  </a:lnTo>
                  <a:lnTo>
                    <a:pt x="249555" y="149638"/>
                  </a:lnTo>
                  <a:lnTo>
                    <a:pt x="244507" y="149638"/>
                  </a:lnTo>
                  <a:lnTo>
                    <a:pt x="244507" y="124016"/>
                  </a:lnTo>
                  <a:lnTo>
                    <a:pt x="234601" y="124016"/>
                  </a:lnTo>
                  <a:lnTo>
                    <a:pt x="234601" y="119729"/>
                  </a:lnTo>
                  <a:lnTo>
                    <a:pt x="234601" y="119729"/>
                  </a:lnTo>
                  <a:close/>
                  <a:moveTo>
                    <a:pt x="217742" y="119729"/>
                  </a:moveTo>
                  <a:lnTo>
                    <a:pt x="222790" y="119729"/>
                  </a:lnTo>
                  <a:lnTo>
                    <a:pt x="222790" y="149638"/>
                  </a:lnTo>
                  <a:lnTo>
                    <a:pt x="217742" y="149638"/>
                  </a:lnTo>
                  <a:lnTo>
                    <a:pt x="217742" y="119729"/>
                  </a:lnTo>
                  <a:lnTo>
                    <a:pt x="217742" y="119729"/>
                  </a:lnTo>
                  <a:close/>
                  <a:moveTo>
                    <a:pt x="201644" y="119729"/>
                  </a:moveTo>
                  <a:lnTo>
                    <a:pt x="206788" y="119729"/>
                  </a:lnTo>
                  <a:lnTo>
                    <a:pt x="198025" y="149638"/>
                  </a:lnTo>
                  <a:lnTo>
                    <a:pt x="191548" y="149638"/>
                  </a:lnTo>
                  <a:lnTo>
                    <a:pt x="185356" y="126492"/>
                  </a:lnTo>
                  <a:lnTo>
                    <a:pt x="179070" y="149638"/>
                  </a:lnTo>
                  <a:lnTo>
                    <a:pt x="172593" y="149638"/>
                  </a:lnTo>
                  <a:lnTo>
                    <a:pt x="163925" y="119729"/>
                  </a:lnTo>
                  <a:lnTo>
                    <a:pt x="169259" y="119729"/>
                  </a:lnTo>
                  <a:lnTo>
                    <a:pt x="175831" y="143923"/>
                  </a:lnTo>
                  <a:lnTo>
                    <a:pt x="182118" y="119729"/>
                  </a:lnTo>
                  <a:lnTo>
                    <a:pt x="188595" y="119729"/>
                  </a:lnTo>
                  <a:lnTo>
                    <a:pt x="194691" y="143923"/>
                  </a:lnTo>
                  <a:lnTo>
                    <a:pt x="201454" y="119729"/>
                  </a:lnTo>
                  <a:lnTo>
                    <a:pt x="201454" y="119729"/>
                  </a:lnTo>
                  <a:close/>
                  <a:moveTo>
                    <a:pt x="152876" y="135541"/>
                  </a:moveTo>
                  <a:cubicBezTo>
                    <a:pt x="154210" y="137065"/>
                    <a:pt x="154877" y="138970"/>
                    <a:pt x="154877" y="141446"/>
                  </a:cubicBezTo>
                  <a:cubicBezTo>
                    <a:pt x="154877" y="144304"/>
                    <a:pt x="153924" y="146494"/>
                    <a:pt x="151924" y="147923"/>
                  </a:cubicBezTo>
                  <a:cubicBezTo>
                    <a:pt x="150019" y="149447"/>
                    <a:pt x="147066" y="150114"/>
                    <a:pt x="143256" y="150114"/>
                  </a:cubicBezTo>
                  <a:cubicBezTo>
                    <a:pt x="139446" y="150114"/>
                    <a:pt x="136303" y="149352"/>
                    <a:pt x="134112" y="147733"/>
                  </a:cubicBezTo>
                  <a:cubicBezTo>
                    <a:pt x="131921" y="146114"/>
                    <a:pt x="130778" y="143923"/>
                    <a:pt x="130493" y="140875"/>
                  </a:cubicBezTo>
                  <a:lnTo>
                    <a:pt x="135922" y="140875"/>
                  </a:lnTo>
                  <a:cubicBezTo>
                    <a:pt x="136303" y="144113"/>
                    <a:pt x="138684" y="145733"/>
                    <a:pt x="143351" y="145733"/>
                  </a:cubicBezTo>
                  <a:cubicBezTo>
                    <a:pt x="145637" y="145733"/>
                    <a:pt x="147256" y="145352"/>
                    <a:pt x="148304" y="144494"/>
                  </a:cubicBezTo>
                  <a:cubicBezTo>
                    <a:pt x="149352" y="143637"/>
                    <a:pt x="149828" y="142589"/>
                    <a:pt x="149828" y="141446"/>
                  </a:cubicBezTo>
                  <a:cubicBezTo>
                    <a:pt x="149828" y="139256"/>
                    <a:pt x="148495" y="137922"/>
                    <a:pt x="145828" y="137446"/>
                  </a:cubicBezTo>
                  <a:lnTo>
                    <a:pt x="139541" y="136398"/>
                  </a:lnTo>
                  <a:cubicBezTo>
                    <a:pt x="136779" y="135922"/>
                    <a:pt x="134779" y="134969"/>
                    <a:pt x="133350" y="133541"/>
                  </a:cubicBezTo>
                  <a:cubicBezTo>
                    <a:pt x="132017" y="132112"/>
                    <a:pt x="131350" y="130207"/>
                    <a:pt x="131350" y="127730"/>
                  </a:cubicBezTo>
                  <a:cubicBezTo>
                    <a:pt x="131350" y="126111"/>
                    <a:pt x="131826" y="124682"/>
                    <a:pt x="132683" y="123444"/>
                  </a:cubicBezTo>
                  <a:cubicBezTo>
                    <a:pt x="133540" y="122111"/>
                    <a:pt x="134779" y="121158"/>
                    <a:pt x="136493" y="120396"/>
                  </a:cubicBezTo>
                  <a:cubicBezTo>
                    <a:pt x="138208" y="119634"/>
                    <a:pt x="140113" y="119253"/>
                    <a:pt x="142399" y="119253"/>
                  </a:cubicBezTo>
                  <a:cubicBezTo>
                    <a:pt x="146018" y="119253"/>
                    <a:pt x="148780" y="120015"/>
                    <a:pt x="150876" y="121634"/>
                  </a:cubicBezTo>
                  <a:cubicBezTo>
                    <a:pt x="152971" y="123254"/>
                    <a:pt x="154114" y="125444"/>
                    <a:pt x="154305" y="128206"/>
                  </a:cubicBezTo>
                  <a:lnTo>
                    <a:pt x="148971" y="128206"/>
                  </a:lnTo>
                  <a:cubicBezTo>
                    <a:pt x="148590" y="125158"/>
                    <a:pt x="146399" y="123634"/>
                    <a:pt x="142399" y="123634"/>
                  </a:cubicBezTo>
                  <a:cubicBezTo>
                    <a:pt x="140303" y="123634"/>
                    <a:pt x="138779" y="124016"/>
                    <a:pt x="137827" y="124778"/>
                  </a:cubicBezTo>
                  <a:cubicBezTo>
                    <a:pt x="136874" y="125540"/>
                    <a:pt x="136398" y="126587"/>
                    <a:pt x="136398" y="127730"/>
                  </a:cubicBezTo>
                  <a:cubicBezTo>
                    <a:pt x="136398" y="129826"/>
                    <a:pt x="137636" y="131064"/>
                    <a:pt x="140113" y="131540"/>
                  </a:cubicBezTo>
                  <a:lnTo>
                    <a:pt x="147066" y="132779"/>
                  </a:lnTo>
                  <a:cubicBezTo>
                    <a:pt x="149638" y="133255"/>
                    <a:pt x="151543" y="134207"/>
                    <a:pt x="152876" y="135731"/>
                  </a:cubicBezTo>
                  <a:lnTo>
                    <a:pt x="152876" y="135731"/>
                  </a:lnTo>
                  <a:close/>
                  <a:moveTo>
                    <a:pt x="642271" y="76962"/>
                  </a:moveTo>
                  <a:lnTo>
                    <a:pt x="642271" y="89821"/>
                  </a:lnTo>
                  <a:lnTo>
                    <a:pt x="576929" y="89821"/>
                  </a:lnTo>
                  <a:lnTo>
                    <a:pt x="576929" y="191"/>
                  </a:lnTo>
                  <a:lnTo>
                    <a:pt x="641604" y="191"/>
                  </a:lnTo>
                  <a:lnTo>
                    <a:pt x="641604" y="13049"/>
                  </a:lnTo>
                  <a:lnTo>
                    <a:pt x="592169" y="13049"/>
                  </a:lnTo>
                  <a:lnTo>
                    <a:pt x="592169" y="36767"/>
                  </a:lnTo>
                  <a:lnTo>
                    <a:pt x="639128" y="36767"/>
                  </a:lnTo>
                  <a:lnTo>
                    <a:pt x="639128" y="49625"/>
                  </a:lnTo>
                  <a:lnTo>
                    <a:pt x="592169" y="49625"/>
                  </a:lnTo>
                  <a:lnTo>
                    <a:pt x="592169" y="76867"/>
                  </a:lnTo>
                  <a:lnTo>
                    <a:pt x="642366" y="76867"/>
                  </a:lnTo>
                  <a:close/>
                  <a:moveTo>
                    <a:pt x="542830" y="191"/>
                  </a:moveTo>
                  <a:lnTo>
                    <a:pt x="557974" y="191"/>
                  </a:lnTo>
                  <a:lnTo>
                    <a:pt x="557974" y="89821"/>
                  </a:lnTo>
                  <a:lnTo>
                    <a:pt x="542830" y="89821"/>
                  </a:lnTo>
                  <a:lnTo>
                    <a:pt x="542830" y="191"/>
                  </a:lnTo>
                  <a:lnTo>
                    <a:pt x="542830" y="191"/>
                  </a:lnTo>
                  <a:close/>
                  <a:moveTo>
                    <a:pt x="468439" y="42577"/>
                  </a:moveTo>
                  <a:lnTo>
                    <a:pt x="468439" y="13049"/>
                  </a:lnTo>
                  <a:lnTo>
                    <a:pt x="493681" y="13049"/>
                  </a:lnTo>
                  <a:cubicBezTo>
                    <a:pt x="498920" y="13049"/>
                    <a:pt x="502920" y="14383"/>
                    <a:pt x="505778" y="16955"/>
                  </a:cubicBezTo>
                  <a:cubicBezTo>
                    <a:pt x="508635" y="19526"/>
                    <a:pt x="509969" y="23146"/>
                    <a:pt x="509969" y="27813"/>
                  </a:cubicBezTo>
                  <a:cubicBezTo>
                    <a:pt x="509969" y="32480"/>
                    <a:pt x="508540" y="36100"/>
                    <a:pt x="505778" y="38671"/>
                  </a:cubicBezTo>
                  <a:cubicBezTo>
                    <a:pt x="502920" y="41243"/>
                    <a:pt x="498920" y="42577"/>
                    <a:pt x="493681" y="42577"/>
                  </a:cubicBezTo>
                  <a:lnTo>
                    <a:pt x="468439" y="42577"/>
                  </a:lnTo>
                  <a:close/>
                  <a:moveTo>
                    <a:pt x="520160" y="45244"/>
                  </a:moveTo>
                  <a:cubicBezTo>
                    <a:pt x="523970" y="40481"/>
                    <a:pt x="525875" y="34671"/>
                    <a:pt x="525875" y="27718"/>
                  </a:cubicBezTo>
                  <a:cubicBezTo>
                    <a:pt x="525875" y="22289"/>
                    <a:pt x="524637" y="17526"/>
                    <a:pt x="522256" y="13430"/>
                  </a:cubicBezTo>
                  <a:cubicBezTo>
                    <a:pt x="519874" y="9239"/>
                    <a:pt x="516350" y="6001"/>
                    <a:pt x="511683" y="3620"/>
                  </a:cubicBezTo>
                  <a:cubicBezTo>
                    <a:pt x="507016" y="1238"/>
                    <a:pt x="501491" y="95"/>
                    <a:pt x="495110" y="95"/>
                  </a:cubicBezTo>
                  <a:lnTo>
                    <a:pt x="453295" y="95"/>
                  </a:lnTo>
                  <a:lnTo>
                    <a:pt x="453295" y="89726"/>
                  </a:lnTo>
                  <a:lnTo>
                    <a:pt x="468439" y="89726"/>
                  </a:lnTo>
                  <a:lnTo>
                    <a:pt x="468439" y="55435"/>
                  </a:lnTo>
                  <a:lnTo>
                    <a:pt x="487013" y="55435"/>
                  </a:lnTo>
                  <a:lnTo>
                    <a:pt x="512255" y="89726"/>
                  </a:lnTo>
                  <a:lnTo>
                    <a:pt x="530828" y="89726"/>
                  </a:lnTo>
                  <a:lnTo>
                    <a:pt x="504063" y="54483"/>
                  </a:lnTo>
                  <a:cubicBezTo>
                    <a:pt x="510921" y="53054"/>
                    <a:pt x="516350" y="50006"/>
                    <a:pt x="520160" y="45244"/>
                  </a:cubicBezTo>
                  <a:lnTo>
                    <a:pt x="520160" y="45244"/>
                  </a:lnTo>
                  <a:close/>
                  <a:moveTo>
                    <a:pt x="434435" y="89726"/>
                  </a:moveTo>
                  <a:lnTo>
                    <a:pt x="419290" y="89726"/>
                  </a:lnTo>
                  <a:lnTo>
                    <a:pt x="419290" y="95"/>
                  </a:lnTo>
                  <a:lnTo>
                    <a:pt x="434435" y="95"/>
                  </a:lnTo>
                  <a:lnTo>
                    <a:pt x="434435" y="89726"/>
                  </a:lnTo>
                  <a:lnTo>
                    <a:pt x="434435" y="89726"/>
                  </a:lnTo>
                  <a:close/>
                  <a:moveTo>
                    <a:pt x="269081" y="42481"/>
                  </a:moveTo>
                  <a:lnTo>
                    <a:pt x="269081" y="12954"/>
                  </a:lnTo>
                  <a:lnTo>
                    <a:pt x="294322" y="12954"/>
                  </a:lnTo>
                  <a:cubicBezTo>
                    <a:pt x="299561" y="12954"/>
                    <a:pt x="303562" y="14288"/>
                    <a:pt x="306419" y="16859"/>
                  </a:cubicBezTo>
                  <a:cubicBezTo>
                    <a:pt x="309277" y="19431"/>
                    <a:pt x="310610" y="23051"/>
                    <a:pt x="310610" y="27718"/>
                  </a:cubicBezTo>
                  <a:cubicBezTo>
                    <a:pt x="310610" y="32385"/>
                    <a:pt x="309181" y="36005"/>
                    <a:pt x="306419" y="38576"/>
                  </a:cubicBezTo>
                  <a:cubicBezTo>
                    <a:pt x="303562" y="41148"/>
                    <a:pt x="299561" y="42481"/>
                    <a:pt x="294322" y="42481"/>
                  </a:cubicBezTo>
                  <a:lnTo>
                    <a:pt x="269081" y="42481"/>
                  </a:lnTo>
                  <a:close/>
                  <a:moveTo>
                    <a:pt x="365760" y="14669"/>
                  </a:moveTo>
                  <a:lnTo>
                    <a:pt x="380143" y="54578"/>
                  </a:lnTo>
                  <a:lnTo>
                    <a:pt x="350996" y="54578"/>
                  </a:lnTo>
                  <a:lnTo>
                    <a:pt x="365760" y="14669"/>
                  </a:lnTo>
                  <a:lnTo>
                    <a:pt x="365760" y="14669"/>
                  </a:lnTo>
                  <a:close/>
                  <a:moveTo>
                    <a:pt x="384810" y="67437"/>
                  </a:moveTo>
                  <a:lnTo>
                    <a:pt x="392716" y="89630"/>
                  </a:lnTo>
                  <a:lnTo>
                    <a:pt x="409289" y="89630"/>
                  </a:lnTo>
                  <a:lnTo>
                    <a:pt x="374618" y="0"/>
                  </a:lnTo>
                  <a:lnTo>
                    <a:pt x="357092" y="0"/>
                  </a:lnTo>
                  <a:lnTo>
                    <a:pt x="325184" y="81344"/>
                  </a:lnTo>
                  <a:lnTo>
                    <a:pt x="304705" y="54483"/>
                  </a:lnTo>
                  <a:cubicBezTo>
                    <a:pt x="311563" y="53054"/>
                    <a:pt x="316992" y="50006"/>
                    <a:pt x="320802" y="45244"/>
                  </a:cubicBezTo>
                  <a:cubicBezTo>
                    <a:pt x="324612" y="40481"/>
                    <a:pt x="326517" y="34671"/>
                    <a:pt x="326517" y="27718"/>
                  </a:cubicBezTo>
                  <a:cubicBezTo>
                    <a:pt x="326517" y="22289"/>
                    <a:pt x="325279" y="17526"/>
                    <a:pt x="322897" y="13430"/>
                  </a:cubicBezTo>
                  <a:cubicBezTo>
                    <a:pt x="320516" y="9239"/>
                    <a:pt x="316992" y="6001"/>
                    <a:pt x="312325" y="3620"/>
                  </a:cubicBezTo>
                  <a:cubicBezTo>
                    <a:pt x="307657" y="1238"/>
                    <a:pt x="302133" y="95"/>
                    <a:pt x="295751" y="95"/>
                  </a:cubicBezTo>
                  <a:lnTo>
                    <a:pt x="253937" y="95"/>
                  </a:lnTo>
                  <a:lnTo>
                    <a:pt x="253937" y="89726"/>
                  </a:lnTo>
                  <a:lnTo>
                    <a:pt x="269081" y="89726"/>
                  </a:lnTo>
                  <a:lnTo>
                    <a:pt x="269081" y="55435"/>
                  </a:lnTo>
                  <a:lnTo>
                    <a:pt x="287655" y="55435"/>
                  </a:lnTo>
                  <a:lnTo>
                    <a:pt x="312896" y="89726"/>
                  </a:lnTo>
                  <a:lnTo>
                    <a:pt x="338138" y="89726"/>
                  </a:lnTo>
                  <a:lnTo>
                    <a:pt x="346329" y="67532"/>
                  </a:lnTo>
                  <a:lnTo>
                    <a:pt x="384810" y="67532"/>
                  </a:lnTo>
                  <a:close/>
                  <a:moveTo>
                    <a:pt x="219646" y="38957"/>
                  </a:moveTo>
                  <a:cubicBezTo>
                    <a:pt x="216789" y="41624"/>
                    <a:pt x="212693" y="42958"/>
                    <a:pt x="207454" y="42958"/>
                  </a:cubicBezTo>
                  <a:lnTo>
                    <a:pt x="184023" y="42958"/>
                  </a:lnTo>
                  <a:lnTo>
                    <a:pt x="184023" y="12954"/>
                  </a:lnTo>
                  <a:lnTo>
                    <a:pt x="207454" y="12954"/>
                  </a:lnTo>
                  <a:cubicBezTo>
                    <a:pt x="212693" y="12954"/>
                    <a:pt x="216694" y="14288"/>
                    <a:pt x="219646" y="16955"/>
                  </a:cubicBezTo>
                  <a:cubicBezTo>
                    <a:pt x="222504" y="19621"/>
                    <a:pt x="224028" y="23241"/>
                    <a:pt x="224028" y="28004"/>
                  </a:cubicBezTo>
                  <a:cubicBezTo>
                    <a:pt x="224028" y="32766"/>
                    <a:pt x="222599" y="36385"/>
                    <a:pt x="219646" y="39053"/>
                  </a:cubicBezTo>
                  <a:lnTo>
                    <a:pt x="219646" y="39053"/>
                  </a:lnTo>
                  <a:close/>
                  <a:moveTo>
                    <a:pt x="236029" y="13430"/>
                  </a:moveTo>
                  <a:cubicBezTo>
                    <a:pt x="233648" y="9239"/>
                    <a:pt x="230124" y="5905"/>
                    <a:pt x="225457" y="3620"/>
                  </a:cubicBezTo>
                  <a:cubicBezTo>
                    <a:pt x="220789" y="1238"/>
                    <a:pt x="215265" y="95"/>
                    <a:pt x="208883" y="95"/>
                  </a:cubicBezTo>
                  <a:lnTo>
                    <a:pt x="168878" y="95"/>
                  </a:lnTo>
                  <a:lnTo>
                    <a:pt x="168878" y="89726"/>
                  </a:lnTo>
                  <a:lnTo>
                    <a:pt x="184023" y="89726"/>
                  </a:lnTo>
                  <a:lnTo>
                    <a:pt x="184023" y="55912"/>
                  </a:lnTo>
                  <a:lnTo>
                    <a:pt x="208883" y="55912"/>
                  </a:lnTo>
                  <a:cubicBezTo>
                    <a:pt x="218504" y="55912"/>
                    <a:pt x="226028" y="53340"/>
                    <a:pt x="231457" y="48292"/>
                  </a:cubicBezTo>
                  <a:cubicBezTo>
                    <a:pt x="236887" y="43244"/>
                    <a:pt x="239649" y="36481"/>
                    <a:pt x="239649" y="28004"/>
                  </a:cubicBezTo>
                  <a:cubicBezTo>
                    <a:pt x="239649" y="22574"/>
                    <a:pt x="238411" y="17717"/>
                    <a:pt x="236029" y="13526"/>
                  </a:cubicBezTo>
                  <a:lnTo>
                    <a:pt x="236029" y="13526"/>
                  </a:lnTo>
                  <a:close/>
                  <a:moveTo>
                    <a:pt x="72485" y="54578"/>
                  </a:moveTo>
                  <a:lnTo>
                    <a:pt x="87249" y="14669"/>
                  </a:lnTo>
                  <a:lnTo>
                    <a:pt x="101632" y="54578"/>
                  </a:lnTo>
                  <a:lnTo>
                    <a:pt x="72485" y="54578"/>
                  </a:lnTo>
                  <a:close/>
                  <a:moveTo>
                    <a:pt x="96107" y="0"/>
                  </a:moveTo>
                  <a:lnTo>
                    <a:pt x="78581" y="0"/>
                  </a:lnTo>
                  <a:lnTo>
                    <a:pt x="48387" y="76771"/>
                  </a:lnTo>
                  <a:lnTo>
                    <a:pt x="15145" y="76771"/>
                  </a:lnTo>
                  <a:lnTo>
                    <a:pt x="15145" y="0"/>
                  </a:lnTo>
                  <a:lnTo>
                    <a:pt x="0" y="0"/>
                  </a:lnTo>
                  <a:lnTo>
                    <a:pt x="0" y="89630"/>
                  </a:lnTo>
                  <a:lnTo>
                    <a:pt x="59627" y="89630"/>
                  </a:lnTo>
                  <a:lnTo>
                    <a:pt x="67818" y="67437"/>
                  </a:lnTo>
                  <a:lnTo>
                    <a:pt x="106299" y="67437"/>
                  </a:lnTo>
                  <a:lnTo>
                    <a:pt x="114205" y="89630"/>
                  </a:lnTo>
                  <a:lnTo>
                    <a:pt x="130778" y="89630"/>
                  </a:lnTo>
                  <a:lnTo>
                    <a:pt x="96107" y="0"/>
                  </a:lnTo>
                  <a:lnTo>
                    <a:pt x="96107" y="0"/>
                  </a:lnTo>
                  <a:close/>
                </a:path>
              </a:pathLst>
            </a:custGeom>
            <a:solidFill>
              <a:srgbClr val="7C7D7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BFD98E21-E47F-1EC7-B66C-C023DEE54750}"/>
                </a:ext>
              </a:extLst>
            </p:cNvPr>
            <p:cNvGrpSpPr/>
            <p:nvPr/>
          </p:nvGrpSpPr>
          <p:grpSpPr>
            <a:xfrm>
              <a:off x="3254589" y="6038625"/>
              <a:ext cx="1294543" cy="69722"/>
              <a:chOff x="3254589" y="6038625"/>
              <a:chExt cx="1294543" cy="69722"/>
            </a:xfrm>
          </p:grpSpPr>
          <p:sp>
            <p:nvSpPr>
              <p:cNvPr id="1065" name="Freihandform: Form 493">
                <a:extLst>
                  <a:ext uri="{FF2B5EF4-FFF2-40B4-BE49-F238E27FC236}">
                    <a16:creationId xmlns:a16="http://schemas.microsoft.com/office/drawing/2014/main" id="{AFC423BD-52FD-7E27-0841-C11391A13EE6}"/>
                  </a:ext>
                </a:extLst>
              </p:cNvPr>
              <p:cNvSpPr/>
              <p:nvPr/>
            </p:nvSpPr>
            <p:spPr>
              <a:xfrm>
                <a:off x="3254589" y="6038625"/>
                <a:ext cx="56959" cy="69722"/>
              </a:xfrm>
              <a:custGeom>
                <a:avLst/>
                <a:gdLst>
                  <a:gd name="connsiteX0" fmla="*/ 54769 w 56959"/>
                  <a:gd name="connsiteY0" fmla="*/ 1905 h 69722"/>
                  <a:gd name="connsiteX1" fmla="*/ 54769 w 56959"/>
                  <a:gd name="connsiteY1" fmla="*/ 24955 h 69722"/>
                  <a:gd name="connsiteX2" fmla="*/ 52197 w 56959"/>
                  <a:gd name="connsiteY2" fmla="*/ 24955 h 69722"/>
                  <a:gd name="connsiteX3" fmla="*/ 32004 w 56959"/>
                  <a:gd name="connsiteY3" fmla="*/ 3429 h 69722"/>
                  <a:gd name="connsiteX4" fmla="*/ 11430 w 56959"/>
                  <a:gd name="connsiteY4" fmla="*/ 34957 h 69722"/>
                  <a:gd name="connsiteX5" fmla="*/ 31718 w 56959"/>
                  <a:gd name="connsiteY5" fmla="*/ 66484 h 69722"/>
                  <a:gd name="connsiteX6" fmla="*/ 54197 w 56959"/>
                  <a:gd name="connsiteY6" fmla="*/ 43148 h 69722"/>
                  <a:gd name="connsiteX7" fmla="*/ 56960 w 56959"/>
                  <a:gd name="connsiteY7" fmla="*/ 43148 h 69722"/>
                  <a:gd name="connsiteX8" fmla="*/ 29909 w 56959"/>
                  <a:gd name="connsiteY8" fmla="*/ 69723 h 69722"/>
                  <a:gd name="connsiteX9" fmla="*/ 0 w 56959"/>
                  <a:gd name="connsiteY9" fmla="*/ 34862 h 69722"/>
                  <a:gd name="connsiteX10" fmla="*/ 30956 w 56959"/>
                  <a:gd name="connsiteY10" fmla="*/ 0 h 69722"/>
                  <a:gd name="connsiteX11" fmla="*/ 48387 w 56959"/>
                  <a:gd name="connsiteY11" fmla="*/ 5429 h 69722"/>
                  <a:gd name="connsiteX12" fmla="*/ 52388 w 56959"/>
                  <a:gd name="connsiteY12" fmla="*/ 1715 h 69722"/>
                  <a:gd name="connsiteX13" fmla="*/ 54674 w 56959"/>
                  <a:gd name="connsiteY13" fmla="*/ 1715 h 69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6959" h="69722">
                    <a:moveTo>
                      <a:pt x="54769" y="1905"/>
                    </a:moveTo>
                    <a:lnTo>
                      <a:pt x="54769" y="24955"/>
                    </a:lnTo>
                    <a:lnTo>
                      <a:pt x="52197" y="24955"/>
                    </a:lnTo>
                    <a:cubicBezTo>
                      <a:pt x="49149" y="14097"/>
                      <a:pt x="44577" y="3429"/>
                      <a:pt x="32004" y="3429"/>
                    </a:cubicBezTo>
                    <a:cubicBezTo>
                      <a:pt x="17907" y="3429"/>
                      <a:pt x="11430" y="13716"/>
                      <a:pt x="11430" y="34957"/>
                    </a:cubicBezTo>
                    <a:cubicBezTo>
                      <a:pt x="11430" y="58483"/>
                      <a:pt x="23241" y="66484"/>
                      <a:pt x="31718" y="66484"/>
                    </a:cubicBezTo>
                    <a:cubicBezTo>
                      <a:pt x="47339" y="66484"/>
                      <a:pt x="52959" y="56197"/>
                      <a:pt x="54197" y="43148"/>
                    </a:cubicBezTo>
                    <a:lnTo>
                      <a:pt x="56960" y="43148"/>
                    </a:lnTo>
                    <a:cubicBezTo>
                      <a:pt x="56102" y="59245"/>
                      <a:pt x="48387" y="69723"/>
                      <a:pt x="29909" y="69723"/>
                    </a:cubicBezTo>
                    <a:cubicBezTo>
                      <a:pt x="13145" y="69723"/>
                      <a:pt x="0" y="52959"/>
                      <a:pt x="0" y="34862"/>
                    </a:cubicBezTo>
                    <a:cubicBezTo>
                      <a:pt x="0" y="16764"/>
                      <a:pt x="13145" y="0"/>
                      <a:pt x="30956" y="0"/>
                    </a:cubicBezTo>
                    <a:cubicBezTo>
                      <a:pt x="39719" y="0"/>
                      <a:pt x="46768" y="5429"/>
                      <a:pt x="48387" y="5429"/>
                    </a:cubicBezTo>
                    <a:cubicBezTo>
                      <a:pt x="50197" y="5429"/>
                      <a:pt x="51816" y="3429"/>
                      <a:pt x="52388" y="1715"/>
                    </a:cubicBezTo>
                    <a:lnTo>
                      <a:pt x="54674" y="1715"/>
                    </a:lnTo>
                    <a:close/>
                  </a:path>
                </a:pathLst>
              </a:custGeom>
              <a:solidFill>
                <a:srgbClr val="1D1E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6" name="Freihandform: Form 494">
                <a:extLst>
                  <a:ext uri="{FF2B5EF4-FFF2-40B4-BE49-F238E27FC236}">
                    <a16:creationId xmlns:a16="http://schemas.microsoft.com/office/drawing/2014/main" id="{70E075E3-AE8F-7C61-0BAF-6E6606C41FAD}"/>
                  </a:ext>
                </a:extLst>
              </p:cNvPr>
              <p:cNvSpPr/>
              <p:nvPr/>
            </p:nvSpPr>
            <p:spPr>
              <a:xfrm>
                <a:off x="3369461" y="6039863"/>
                <a:ext cx="67056" cy="67436"/>
              </a:xfrm>
              <a:custGeom>
                <a:avLst/>
                <a:gdLst>
                  <a:gd name="connsiteX0" fmla="*/ 0 w 67056"/>
                  <a:gd name="connsiteY0" fmla="*/ 67437 h 67436"/>
                  <a:gd name="connsiteX1" fmla="*/ 0 w 67056"/>
                  <a:gd name="connsiteY1" fmla="*/ 64103 h 67436"/>
                  <a:gd name="connsiteX2" fmla="*/ 9049 w 67056"/>
                  <a:gd name="connsiteY2" fmla="*/ 57626 h 67436"/>
                  <a:gd name="connsiteX3" fmla="*/ 9049 w 67056"/>
                  <a:gd name="connsiteY3" fmla="*/ 9811 h 67436"/>
                  <a:gd name="connsiteX4" fmla="*/ 0 w 67056"/>
                  <a:gd name="connsiteY4" fmla="*/ 3334 h 67436"/>
                  <a:gd name="connsiteX5" fmla="*/ 0 w 67056"/>
                  <a:gd name="connsiteY5" fmla="*/ 0 h 67436"/>
                  <a:gd name="connsiteX6" fmla="*/ 28575 w 67056"/>
                  <a:gd name="connsiteY6" fmla="*/ 0 h 67436"/>
                  <a:gd name="connsiteX7" fmla="*/ 28575 w 67056"/>
                  <a:gd name="connsiteY7" fmla="*/ 3334 h 67436"/>
                  <a:gd name="connsiteX8" fmla="*/ 18955 w 67056"/>
                  <a:gd name="connsiteY8" fmla="*/ 9811 h 67436"/>
                  <a:gd name="connsiteX9" fmla="*/ 18955 w 67056"/>
                  <a:gd name="connsiteY9" fmla="*/ 30385 h 67436"/>
                  <a:gd name="connsiteX10" fmla="*/ 47911 w 67056"/>
                  <a:gd name="connsiteY10" fmla="*/ 30385 h 67436"/>
                  <a:gd name="connsiteX11" fmla="*/ 47911 w 67056"/>
                  <a:gd name="connsiteY11" fmla="*/ 9811 h 67436"/>
                  <a:gd name="connsiteX12" fmla="*/ 38671 w 67056"/>
                  <a:gd name="connsiteY12" fmla="*/ 3334 h 67436"/>
                  <a:gd name="connsiteX13" fmla="*/ 38671 w 67056"/>
                  <a:gd name="connsiteY13" fmla="*/ 0 h 67436"/>
                  <a:gd name="connsiteX14" fmla="*/ 66675 w 67056"/>
                  <a:gd name="connsiteY14" fmla="*/ 0 h 67436"/>
                  <a:gd name="connsiteX15" fmla="*/ 66675 w 67056"/>
                  <a:gd name="connsiteY15" fmla="*/ 3334 h 67436"/>
                  <a:gd name="connsiteX16" fmla="*/ 57817 w 67056"/>
                  <a:gd name="connsiteY16" fmla="*/ 9811 h 67436"/>
                  <a:gd name="connsiteX17" fmla="*/ 57817 w 67056"/>
                  <a:gd name="connsiteY17" fmla="*/ 57626 h 67436"/>
                  <a:gd name="connsiteX18" fmla="*/ 67056 w 67056"/>
                  <a:gd name="connsiteY18" fmla="*/ 64103 h 67436"/>
                  <a:gd name="connsiteX19" fmla="*/ 67056 w 67056"/>
                  <a:gd name="connsiteY19" fmla="*/ 67437 h 67436"/>
                  <a:gd name="connsiteX20" fmla="*/ 38862 w 67056"/>
                  <a:gd name="connsiteY20" fmla="*/ 67437 h 67436"/>
                  <a:gd name="connsiteX21" fmla="*/ 38862 w 67056"/>
                  <a:gd name="connsiteY21" fmla="*/ 64103 h 67436"/>
                  <a:gd name="connsiteX22" fmla="*/ 47911 w 67056"/>
                  <a:gd name="connsiteY22" fmla="*/ 57626 h 67436"/>
                  <a:gd name="connsiteX23" fmla="*/ 47911 w 67056"/>
                  <a:gd name="connsiteY23" fmla="*/ 33719 h 67436"/>
                  <a:gd name="connsiteX24" fmla="*/ 18955 w 67056"/>
                  <a:gd name="connsiteY24" fmla="*/ 33719 h 67436"/>
                  <a:gd name="connsiteX25" fmla="*/ 18955 w 67056"/>
                  <a:gd name="connsiteY25" fmla="*/ 57626 h 67436"/>
                  <a:gd name="connsiteX26" fmla="*/ 28766 w 67056"/>
                  <a:gd name="connsiteY26" fmla="*/ 64103 h 67436"/>
                  <a:gd name="connsiteX27" fmla="*/ 28766 w 67056"/>
                  <a:gd name="connsiteY27" fmla="*/ 67437 h 67436"/>
                  <a:gd name="connsiteX28" fmla="*/ 0 w 67056"/>
                  <a:gd name="connsiteY28" fmla="*/ 67437 h 67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7056" h="67436">
                    <a:moveTo>
                      <a:pt x="0" y="67437"/>
                    </a:moveTo>
                    <a:lnTo>
                      <a:pt x="0" y="64103"/>
                    </a:lnTo>
                    <a:cubicBezTo>
                      <a:pt x="7334" y="64103"/>
                      <a:pt x="9049" y="62294"/>
                      <a:pt x="9049" y="57626"/>
                    </a:cubicBezTo>
                    <a:lnTo>
                      <a:pt x="9049" y="9811"/>
                    </a:lnTo>
                    <a:cubicBezTo>
                      <a:pt x="9049" y="5144"/>
                      <a:pt x="7429" y="3334"/>
                      <a:pt x="0" y="3334"/>
                    </a:cubicBezTo>
                    <a:lnTo>
                      <a:pt x="0" y="0"/>
                    </a:lnTo>
                    <a:lnTo>
                      <a:pt x="28575" y="0"/>
                    </a:lnTo>
                    <a:lnTo>
                      <a:pt x="28575" y="3334"/>
                    </a:lnTo>
                    <a:cubicBezTo>
                      <a:pt x="20669" y="3334"/>
                      <a:pt x="18955" y="5144"/>
                      <a:pt x="18955" y="9811"/>
                    </a:cubicBezTo>
                    <a:lnTo>
                      <a:pt x="18955" y="30385"/>
                    </a:lnTo>
                    <a:lnTo>
                      <a:pt x="47911" y="30385"/>
                    </a:lnTo>
                    <a:lnTo>
                      <a:pt x="47911" y="9811"/>
                    </a:lnTo>
                    <a:cubicBezTo>
                      <a:pt x="47911" y="5144"/>
                      <a:pt x="46292" y="3334"/>
                      <a:pt x="38671" y="3334"/>
                    </a:cubicBezTo>
                    <a:lnTo>
                      <a:pt x="38671" y="0"/>
                    </a:lnTo>
                    <a:lnTo>
                      <a:pt x="66675" y="0"/>
                    </a:lnTo>
                    <a:lnTo>
                      <a:pt x="66675" y="3334"/>
                    </a:lnTo>
                    <a:cubicBezTo>
                      <a:pt x="59531" y="3334"/>
                      <a:pt x="57817" y="5144"/>
                      <a:pt x="57817" y="9811"/>
                    </a:cubicBezTo>
                    <a:lnTo>
                      <a:pt x="57817" y="57626"/>
                    </a:lnTo>
                    <a:cubicBezTo>
                      <a:pt x="57817" y="62294"/>
                      <a:pt x="59436" y="64103"/>
                      <a:pt x="67056" y="64103"/>
                    </a:cubicBezTo>
                    <a:lnTo>
                      <a:pt x="67056" y="67437"/>
                    </a:lnTo>
                    <a:lnTo>
                      <a:pt x="38862" y="67437"/>
                    </a:lnTo>
                    <a:lnTo>
                      <a:pt x="38862" y="64103"/>
                    </a:lnTo>
                    <a:cubicBezTo>
                      <a:pt x="46196" y="64103"/>
                      <a:pt x="47911" y="62294"/>
                      <a:pt x="47911" y="57626"/>
                    </a:cubicBezTo>
                    <a:lnTo>
                      <a:pt x="47911" y="33719"/>
                    </a:lnTo>
                    <a:lnTo>
                      <a:pt x="18955" y="33719"/>
                    </a:lnTo>
                    <a:lnTo>
                      <a:pt x="18955" y="57626"/>
                    </a:lnTo>
                    <a:cubicBezTo>
                      <a:pt x="18955" y="62294"/>
                      <a:pt x="20574" y="64103"/>
                      <a:pt x="28766" y="64103"/>
                    </a:cubicBezTo>
                    <a:lnTo>
                      <a:pt x="28766" y="67437"/>
                    </a:lnTo>
                    <a:lnTo>
                      <a:pt x="0" y="67437"/>
                    </a:lnTo>
                    <a:close/>
                  </a:path>
                </a:pathLst>
              </a:custGeom>
              <a:solidFill>
                <a:srgbClr val="1D1E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7" name="Freihandform: Form 495">
                <a:extLst>
                  <a:ext uri="{FF2B5EF4-FFF2-40B4-BE49-F238E27FC236}">
                    <a16:creationId xmlns:a16="http://schemas.microsoft.com/office/drawing/2014/main" id="{27895928-E622-4D74-E4E0-A48663D310E9}"/>
                  </a:ext>
                </a:extLst>
              </p:cNvPr>
              <p:cNvSpPr/>
              <p:nvPr/>
            </p:nvSpPr>
            <p:spPr>
              <a:xfrm>
                <a:off x="3489095" y="6039482"/>
                <a:ext cx="67722" cy="67817"/>
              </a:xfrm>
              <a:custGeom>
                <a:avLst/>
                <a:gdLst>
                  <a:gd name="connsiteX0" fmla="*/ 25432 w 67722"/>
                  <a:gd name="connsiteY0" fmla="*/ 67818 h 67817"/>
                  <a:gd name="connsiteX1" fmla="*/ 25432 w 67722"/>
                  <a:gd name="connsiteY1" fmla="*/ 64484 h 67817"/>
                  <a:gd name="connsiteX2" fmla="*/ 15050 w 67722"/>
                  <a:gd name="connsiteY2" fmla="*/ 59341 h 67817"/>
                  <a:gd name="connsiteX3" fmla="*/ 19526 w 67722"/>
                  <a:gd name="connsiteY3" fmla="*/ 45148 h 67817"/>
                  <a:gd name="connsiteX4" fmla="*/ 42672 w 67722"/>
                  <a:gd name="connsiteY4" fmla="*/ 45148 h 67817"/>
                  <a:gd name="connsiteX5" fmla="*/ 48197 w 67722"/>
                  <a:gd name="connsiteY5" fmla="*/ 60769 h 67817"/>
                  <a:gd name="connsiteX6" fmla="*/ 40481 w 67722"/>
                  <a:gd name="connsiteY6" fmla="*/ 64389 h 67817"/>
                  <a:gd name="connsiteX7" fmla="*/ 40481 w 67722"/>
                  <a:gd name="connsiteY7" fmla="*/ 67723 h 67817"/>
                  <a:gd name="connsiteX8" fmla="*/ 67723 w 67722"/>
                  <a:gd name="connsiteY8" fmla="*/ 67723 h 67817"/>
                  <a:gd name="connsiteX9" fmla="*/ 67723 w 67722"/>
                  <a:gd name="connsiteY9" fmla="*/ 64389 h 67817"/>
                  <a:gd name="connsiteX10" fmla="*/ 56864 w 67722"/>
                  <a:gd name="connsiteY10" fmla="*/ 55054 h 67817"/>
                  <a:gd name="connsiteX11" fmla="*/ 35433 w 67722"/>
                  <a:gd name="connsiteY11" fmla="*/ 0 h 67817"/>
                  <a:gd name="connsiteX12" fmla="*/ 31909 w 67722"/>
                  <a:gd name="connsiteY12" fmla="*/ 0 h 67817"/>
                  <a:gd name="connsiteX13" fmla="*/ 12097 w 67722"/>
                  <a:gd name="connsiteY13" fmla="*/ 54007 h 67817"/>
                  <a:gd name="connsiteX14" fmla="*/ 0 w 67722"/>
                  <a:gd name="connsiteY14" fmla="*/ 64389 h 67817"/>
                  <a:gd name="connsiteX15" fmla="*/ 0 w 67722"/>
                  <a:gd name="connsiteY15" fmla="*/ 67723 h 67817"/>
                  <a:gd name="connsiteX16" fmla="*/ 25527 w 67722"/>
                  <a:gd name="connsiteY16" fmla="*/ 67723 h 67817"/>
                  <a:gd name="connsiteX17" fmla="*/ 20955 w 67722"/>
                  <a:gd name="connsiteY17" fmla="*/ 41148 h 67817"/>
                  <a:gd name="connsiteX18" fmla="*/ 30766 w 67722"/>
                  <a:gd name="connsiteY18" fmla="*/ 15430 h 67817"/>
                  <a:gd name="connsiteX19" fmla="*/ 41148 w 67722"/>
                  <a:gd name="connsiteY19" fmla="*/ 41148 h 67817"/>
                  <a:gd name="connsiteX20" fmla="*/ 20955 w 67722"/>
                  <a:gd name="connsiteY20" fmla="*/ 41148 h 67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7722" h="67817">
                    <a:moveTo>
                      <a:pt x="25432" y="67818"/>
                    </a:moveTo>
                    <a:lnTo>
                      <a:pt x="25432" y="64484"/>
                    </a:lnTo>
                    <a:cubicBezTo>
                      <a:pt x="17050" y="64484"/>
                      <a:pt x="15050" y="63151"/>
                      <a:pt x="15050" y="59341"/>
                    </a:cubicBezTo>
                    <a:cubicBezTo>
                      <a:pt x="15050" y="56578"/>
                      <a:pt x="17907" y="50673"/>
                      <a:pt x="19526" y="45148"/>
                    </a:cubicBezTo>
                    <a:lnTo>
                      <a:pt x="42672" y="45148"/>
                    </a:lnTo>
                    <a:cubicBezTo>
                      <a:pt x="45339" y="50864"/>
                      <a:pt x="48197" y="58674"/>
                      <a:pt x="48197" y="60769"/>
                    </a:cubicBezTo>
                    <a:cubicBezTo>
                      <a:pt x="48197" y="63627"/>
                      <a:pt x="47816" y="64389"/>
                      <a:pt x="40481" y="64389"/>
                    </a:cubicBezTo>
                    <a:lnTo>
                      <a:pt x="40481" y="67723"/>
                    </a:lnTo>
                    <a:lnTo>
                      <a:pt x="67723" y="67723"/>
                    </a:lnTo>
                    <a:lnTo>
                      <a:pt x="67723" y="64389"/>
                    </a:lnTo>
                    <a:cubicBezTo>
                      <a:pt x="62008" y="64389"/>
                      <a:pt x="59817" y="62579"/>
                      <a:pt x="56864" y="55054"/>
                    </a:cubicBezTo>
                    <a:lnTo>
                      <a:pt x="35433" y="0"/>
                    </a:lnTo>
                    <a:lnTo>
                      <a:pt x="31909" y="0"/>
                    </a:lnTo>
                    <a:lnTo>
                      <a:pt x="12097" y="54007"/>
                    </a:lnTo>
                    <a:cubicBezTo>
                      <a:pt x="9906" y="60007"/>
                      <a:pt x="7906" y="64389"/>
                      <a:pt x="0" y="64389"/>
                    </a:cubicBezTo>
                    <a:lnTo>
                      <a:pt x="0" y="67723"/>
                    </a:lnTo>
                    <a:lnTo>
                      <a:pt x="25527" y="67723"/>
                    </a:lnTo>
                    <a:close/>
                    <a:moveTo>
                      <a:pt x="20955" y="41148"/>
                    </a:moveTo>
                    <a:lnTo>
                      <a:pt x="30766" y="15430"/>
                    </a:lnTo>
                    <a:lnTo>
                      <a:pt x="41148" y="41148"/>
                    </a:lnTo>
                    <a:lnTo>
                      <a:pt x="20955" y="41148"/>
                    </a:lnTo>
                    <a:close/>
                  </a:path>
                </a:pathLst>
              </a:custGeom>
              <a:solidFill>
                <a:srgbClr val="1D1E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8" name="Freihandform: Form 496">
                <a:extLst>
                  <a:ext uri="{FF2B5EF4-FFF2-40B4-BE49-F238E27FC236}">
                    <a16:creationId xmlns:a16="http://schemas.microsoft.com/office/drawing/2014/main" id="{B9EBE71D-1F93-10A1-002F-085DB4FDC01C}"/>
                  </a:ext>
                </a:extLst>
              </p:cNvPr>
              <p:cNvSpPr/>
              <p:nvPr/>
            </p:nvSpPr>
            <p:spPr>
              <a:xfrm>
                <a:off x="3609967" y="6039958"/>
                <a:ext cx="65055" cy="68008"/>
              </a:xfrm>
              <a:custGeom>
                <a:avLst/>
                <a:gdLst>
                  <a:gd name="connsiteX0" fmla="*/ 17050 w 65055"/>
                  <a:gd name="connsiteY0" fmla="*/ 0 h 68008"/>
                  <a:gd name="connsiteX1" fmla="*/ 52292 w 65055"/>
                  <a:gd name="connsiteY1" fmla="*/ 50482 h 68008"/>
                  <a:gd name="connsiteX2" fmla="*/ 52483 w 65055"/>
                  <a:gd name="connsiteY2" fmla="*/ 50482 h 68008"/>
                  <a:gd name="connsiteX3" fmla="*/ 52483 w 65055"/>
                  <a:gd name="connsiteY3" fmla="*/ 9811 h 68008"/>
                  <a:gd name="connsiteX4" fmla="*/ 42767 w 65055"/>
                  <a:gd name="connsiteY4" fmla="*/ 3334 h 68008"/>
                  <a:gd name="connsiteX5" fmla="*/ 42767 w 65055"/>
                  <a:gd name="connsiteY5" fmla="*/ 0 h 68008"/>
                  <a:gd name="connsiteX6" fmla="*/ 65056 w 65055"/>
                  <a:gd name="connsiteY6" fmla="*/ 0 h 68008"/>
                  <a:gd name="connsiteX7" fmla="*/ 65056 w 65055"/>
                  <a:gd name="connsiteY7" fmla="*/ 3334 h 68008"/>
                  <a:gd name="connsiteX8" fmla="*/ 56483 w 65055"/>
                  <a:gd name="connsiteY8" fmla="*/ 9811 h 68008"/>
                  <a:gd name="connsiteX9" fmla="*/ 56483 w 65055"/>
                  <a:gd name="connsiteY9" fmla="*/ 68008 h 68008"/>
                  <a:gd name="connsiteX10" fmla="*/ 52673 w 65055"/>
                  <a:gd name="connsiteY10" fmla="*/ 68008 h 68008"/>
                  <a:gd name="connsiteX11" fmla="*/ 14192 w 65055"/>
                  <a:gd name="connsiteY11" fmla="*/ 13526 h 68008"/>
                  <a:gd name="connsiteX12" fmla="*/ 14002 w 65055"/>
                  <a:gd name="connsiteY12" fmla="*/ 13526 h 68008"/>
                  <a:gd name="connsiteX13" fmla="*/ 14002 w 65055"/>
                  <a:gd name="connsiteY13" fmla="*/ 57626 h 68008"/>
                  <a:gd name="connsiteX14" fmla="*/ 24289 w 65055"/>
                  <a:gd name="connsiteY14" fmla="*/ 64103 h 68008"/>
                  <a:gd name="connsiteX15" fmla="*/ 24289 w 65055"/>
                  <a:gd name="connsiteY15" fmla="*/ 67437 h 68008"/>
                  <a:gd name="connsiteX16" fmla="*/ 191 w 65055"/>
                  <a:gd name="connsiteY16" fmla="*/ 67437 h 68008"/>
                  <a:gd name="connsiteX17" fmla="*/ 191 w 65055"/>
                  <a:gd name="connsiteY17" fmla="*/ 64103 h 68008"/>
                  <a:gd name="connsiteX18" fmla="*/ 9906 w 65055"/>
                  <a:gd name="connsiteY18" fmla="*/ 57626 h 68008"/>
                  <a:gd name="connsiteX19" fmla="*/ 9906 w 65055"/>
                  <a:gd name="connsiteY19" fmla="*/ 7334 h 68008"/>
                  <a:gd name="connsiteX20" fmla="*/ 0 w 65055"/>
                  <a:gd name="connsiteY20" fmla="*/ 3334 h 68008"/>
                  <a:gd name="connsiteX21" fmla="*/ 0 w 65055"/>
                  <a:gd name="connsiteY21" fmla="*/ 0 h 68008"/>
                  <a:gd name="connsiteX22" fmla="*/ 16954 w 65055"/>
                  <a:gd name="connsiteY22" fmla="*/ 0 h 68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5055" h="68008">
                    <a:moveTo>
                      <a:pt x="17050" y="0"/>
                    </a:moveTo>
                    <a:lnTo>
                      <a:pt x="52292" y="50482"/>
                    </a:lnTo>
                    <a:lnTo>
                      <a:pt x="52483" y="50482"/>
                    </a:lnTo>
                    <a:lnTo>
                      <a:pt x="52483" y="9811"/>
                    </a:lnTo>
                    <a:cubicBezTo>
                      <a:pt x="52483" y="5144"/>
                      <a:pt x="50768" y="3334"/>
                      <a:pt x="42767" y="3334"/>
                    </a:cubicBezTo>
                    <a:lnTo>
                      <a:pt x="42767" y="0"/>
                    </a:lnTo>
                    <a:lnTo>
                      <a:pt x="65056" y="0"/>
                    </a:lnTo>
                    <a:lnTo>
                      <a:pt x="65056" y="3334"/>
                    </a:lnTo>
                    <a:cubicBezTo>
                      <a:pt x="58198" y="3334"/>
                      <a:pt x="56483" y="5144"/>
                      <a:pt x="56483" y="9811"/>
                    </a:cubicBezTo>
                    <a:lnTo>
                      <a:pt x="56483" y="68008"/>
                    </a:lnTo>
                    <a:lnTo>
                      <a:pt x="52673" y="68008"/>
                    </a:lnTo>
                    <a:lnTo>
                      <a:pt x="14192" y="13526"/>
                    </a:lnTo>
                    <a:lnTo>
                      <a:pt x="14002" y="13526"/>
                    </a:lnTo>
                    <a:lnTo>
                      <a:pt x="14002" y="57626"/>
                    </a:lnTo>
                    <a:cubicBezTo>
                      <a:pt x="14002" y="62294"/>
                      <a:pt x="15621" y="64103"/>
                      <a:pt x="24289" y="64103"/>
                    </a:cubicBezTo>
                    <a:lnTo>
                      <a:pt x="24289" y="67437"/>
                    </a:lnTo>
                    <a:lnTo>
                      <a:pt x="191" y="67437"/>
                    </a:lnTo>
                    <a:lnTo>
                      <a:pt x="191" y="64103"/>
                    </a:lnTo>
                    <a:cubicBezTo>
                      <a:pt x="8192" y="64103"/>
                      <a:pt x="9906" y="62294"/>
                      <a:pt x="9906" y="57626"/>
                    </a:cubicBezTo>
                    <a:lnTo>
                      <a:pt x="9906" y="7334"/>
                    </a:lnTo>
                    <a:cubicBezTo>
                      <a:pt x="6763" y="3715"/>
                      <a:pt x="5048" y="3334"/>
                      <a:pt x="0" y="3334"/>
                    </a:cubicBezTo>
                    <a:lnTo>
                      <a:pt x="0" y="0"/>
                    </a:lnTo>
                    <a:lnTo>
                      <a:pt x="16954" y="0"/>
                    </a:lnTo>
                    <a:close/>
                  </a:path>
                </a:pathLst>
              </a:custGeom>
              <a:solidFill>
                <a:srgbClr val="1D1E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9" name="Freihandform: Form 497">
                <a:extLst>
                  <a:ext uri="{FF2B5EF4-FFF2-40B4-BE49-F238E27FC236}">
                    <a16:creationId xmlns:a16="http://schemas.microsoft.com/office/drawing/2014/main" id="{4C6B3441-0FE0-ACFD-A02A-672D6102BA70}"/>
                  </a:ext>
                </a:extLst>
              </p:cNvPr>
              <p:cNvSpPr/>
              <p:nvPr/>
            </p:nvSpPr>
            <p:spPr>
              <a:xfrm>
                <a:off x="3731411" y="6039863"/>
                <a:ext cx="56959" cy="67436"/>
              </a:xfrm>
              <a:custGeom>
                <a:avLst/>
                <a:gdLst>
                  <a:gd name="connsiteX0" fmla="*/ 53721 w 56959"/>
                  <a:gd name="connsiteY0" fmla="*/ 23146 h 67436"/>
                  <a:gd name="connsiteX1" fmla="*/ 33338 w 56959"/>
                  <a:gd name="connsiteY1" fmla="*/ 3334 h 67436"/>
                  <a:gd name="connsiteX2" fmla="*/ 33338 w 56959"/>
                  <a:gd name="connsiteY2" fmla="*/ 57626 h 67436"/>
                  <a:gd name="connsiteX3" fmla="*/ 42767 w 56959"/>
                  <a:gd name="connsiteY3" fmla="*/ 64103 h 67436"/>
                  <a:gd name="connsiteX4" fmla="*/ 42767 w 56959"/>
                  <a:gd name="connsiteY4" fmla="*/ 67437 h 67436"/>
                  <a:gd name="connsiteX5" fmla="*/ 14002 w 56959"/>
                  <a:gd name="connsiteY5" fmla="*/ 67437 h 67436"/>
                  <a:gd name="connsiteX6" fmla="*/ 14002 w 56959"/>
                  <a:gd name="connsiteY6" fmla="*/ 64103 h 67436"/>
                  <a:gd name="connsiteX7" fmla="*/ 23432 w 56959"/>
                  <a:gd name="connsiteY7" fmla="*/ 57626 h 67436"/>
                  <a:gd name="connsiteX8" fmla="*/ 23432 w 56959"/>
                  <a:gd name="connsiteY8" fmla="*/ 3334 h 67436"/>
                  <a:gd name="connsiteX9" fmla="*/ 3048 w 56959"/>
                  <a:gd name="connsiteY9" fmla="*/ 23146 h 67436"/>
                  <a:gd name="connsiteX10" fmla="*/ 0 w 56959"/>
                  <a:gd name="connsiteY10" fmla="*/ 23146 h 67436"/>
                  <a:gd name="connsiteX11" fmla="*/ 571 w 56959"/>
                  <a:gd name="connsiteY11" fmla="*/ 0 h 67436"/>
                  <a:gd name="connsiteX12" fmla="*/ 56388 w 56959"/>
                  <a:gd name="connsiteY12" fmla="*/ 0 h 67436"/>
                  <a:gd name="connsiteX13" fmla="*/ 56960 w 56959"/>
                  <a:gd name="connsiteY13" fmla="*/ 23146 h 67436"/>
                  <a:gd name="connsiteX14" fmla="*/ 53912 w 56959"/>
                  <a:gd name="connsiteY14" fmla="*/ 23146 h 67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6959" h="67436">
                    <a:moveTo>
                      <a:pt x="53721" y="23146"/>
                    </a:moveTo>
                    <a:cubicBezTo>
                      <a:pt x="51626" y="10763"/>
                      <a:pt x="47149" y="3334"/>
                      <a:pt x="33338" y="3334"/>
                    </a:cubicBezTo>
                    <a:lnTo>
                      <a:pt x="33338" y="57626"/>
                    </a:lnTo>
                    <a:cubicBezTo>
                      <a:pt x="33338" y="62294"/>
                      <a:pt x="35052" y="64103"/>
                      <a:pt x="42767" y="64103"/>
                    </a:cubicBezTo>
                    <a:lnTo>
                      <a:pt x="42767" y="67437"/>
                    </a:lnTo>
                    <a:lnTo>
                      <a:pt x="14002" y="67437"/>
                    </a:lnTo>
                    <a:lnTo>
                      <a:pt x="14002" y="64103"/>
                    </a:lnTo>
                    <a:cubicBezTo>
                      <a:pt x="21717" y="64103"/>
                      <a:pt x="23432" y="62294"/>
                      <a:pt x="23432" y="57626"/>
                    </a:cubicBezTo>
                    <a:lnTo>
                      <a:pt x="23432" y="3334"/>
                    </a:lnTo>
                    <a:cubicBezTo>
                      <a:pt x="9620" y="3334"/>
                      <a:pt x="5048" y="10763"/>
                      <a:pt x="3048" y="23146"/>
                    </a:cubicBezTo>
                    <a:lnTo>
                      <a:pt x="0" y="23146"/>
                    </a:lnTo>
                    <a:lnTo>
                      <a:pt x="571" y="0"/>
                    </a:lnTo>
                    <a:lnTo>
                      <a:pt x="56388" y="0"/>
                    </a:lnTo>
                    <a:lnTo>
                      <a:pt x="56960" y="23146"/>
                    </a:lnTo>
                    <a:lnTo>
                      <a:pt x="53912" y="23146"/>
                    </a:lnTo>
                    <a:close/>
                  </a:path>
                </a:pathLst>
              </a:custGeom>
              <a:solidFill>
                <a:srgbClr val="1D1E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70" name="Freihandform: Form 498">
                <a:extLst>
                  <a:ext uri="{FF2B5EF4-FFF2-40B4-BE49-F238E27FC236}">
                    <a16:creationId xmlns:a16="http://schemas.microsoft.com/office/drawing/2014/main" id="{A9982B21-7CC9-027A-3E37-D2311BFD3224}"/>
                  </a:ext>
                </a:extLst>
              </p:cNvPr>
              <p:cNvSpPr/>
              <p:nvPr/>
            </p:nvSpPr>
            <p:spPr>
              <a:xfrm>
                <a:off x="3844282" y="6039863"/>
                <a:ext cx="57721" cy="67436"/>
              </a:xfrm>
              <a:custGeom>
                <a:avLst/>
                <a:gdLst>
                  <a:gd name="connsiteX0" fmla="*/ 57150 w 57721"/>
                  <a:gd name="connsiteY0" fmla="*/ 67437 h 67436"/>
                  <a:gd name="connsiteX1" fmla="*/ 0 w 57721"/>
                  <a:gd name="connsiteY1" fmla="*/ 67437 h 67436"/>
                  <a:gd name="connsiteX2" fmla="*/ 0 w 57721"/>
                  <a:gd name="connsiteY2" fmla="*/ 64103 h 67436"/>
                  <a:gd name="connsiteX3" fmla="*/ 9144 w 57721"/>
                  <a:gd name="connsiteY3" fmla="*/ 57626 h 67436"/>
                  <a:gd name="connsiteX4" fmla="*/ 9144 w 57721"/>
                  <a:gd name="connsiteY4" fmla="*/ 9811 h 67436"/>
                  <a:gd name="connsiteX5" fmla="*/ 0 w 57721"/>
                  <a:gd name="connsiteY5" fmla="*/ 3334 h 67436"/>
                  <a:gd name="connsiteX6" fmla="*/ 0 w 57721"/>
                  <a:gd name="connsiteY6" fmla="*/ 0 h 67436"/>
                  <a:gd name="connsiteX7" fmla="*/ 55531 w 57721"/>
                  <a:gd name="connsiteY7" fmla="*/ 0 h 67436"/>
                  <a:gd name="connsiteX8" fmla="*/ 56102 w 57721"/>
                  <a:gd name="connsiteY8" fmla="*/ 24003 h 67436"/>
                  <a:gd name="connsiteX9" fmla="*/ 53054 w 57721"/>
                  <a:gd name="connsiteY9" fmla="*/ 24003 h 67436"/>
                  <a:gd name="connsiteX10" fmla="*/ 29718 w 57721"/>
                  <a:gd name="connsiteY10" fmla="*/ 3239 h 67436"/>
                  <a:gd name="connsiteX11" fmla="*/ 19050 w 57721"/>
                  <a:gd name="connsiteY11" fmla="*/ 9716 h 67436"/>
                  <a:gd name="connsiteX12" fmla="*/ 19050 w 57721"/>
                  <a:gd name="connsiteY12" fmla="*/ 30480 h 67436"/>
                  <a:gd name="connsiteX13" fmla="*/ 35243 w 57721"/>
                  <a:gd name="connsiteY13" fmla="*/ 18669 h 67436"/>
                  <a:gd name="connsiteX14" fmla="*/ 38005 w 57721"/>
                  <a:gd name="connsiteY14" fmla="*/ 18669 h 67436"/>
                  <a:gd name="connsiteX15" fmla="*/ 38005 w 57721"/>
                  <a:gd name="connsiteY15" fmla="*/ 45625 h 67436"/>
                  <a:gd name="connsiteX16" fmla="*/ 35243 w 57721"/>
                  <a:gd name="connsiteY16" fmla="*/ 45625 h 67436"/>
                  <a:gd name="connsiteX17" fmla="*/ 19050 w 57721"/>
                  <a:gd name="connsiteY17" fmla="*/ 33814 h 67436"/>
                  <a:gd name="connsiteX18" fmla="*/ 19050 w 57721"/>
                  <a:gd name="connsiteY18" fmla="*/ 59722 h 67436"/>
                  <a:gd name="connsiteX19" fmla="*/ 27051 w 57721"/>
                  <a:gd name="connsiteY19" fmla="*/ 64008 h 67436"/>
                  <a:gd name="connsiteX20" fmla="*/ 54673 w 57721"/>
                  <a:gd name="connsiteY20" fmla="*/ 42101 h 67436"/>
                  <a:gd name="connsiteX21" fmla="*/ 57721 w 57721"/>
                  <a:gd name="connsiteY21" fmla="*/ 42101 h 67436"/>
                  <a:gd name="connsiteX22" fmla="*/ 57150 w 57721"/>
                  <a:gd name="connsiteY22" fmla="*/ 67342 h 67436"/>
                  <a:gd name="connsiteX23" fmla="*/ 57150 w 57721"/>
                  <a:gd name="connsiteY23" fmla="*/ 67342 h 67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7721" h="67436">
                    <a:moveTo>
                      <a:pt x="57150" y="67437"/>
                    </a:moveTo>
                    <a:lnTo>
                      <a:pt x="0" y="67437"/>
                    </a:lnTo>
                    <a:lnTo>
                      <a:pt x="0" y="64103"/>
                    </a:lnTo>
                    <a:cubicBezTo>
                      <a:pt x="7429" y="64103"/>
                      <a:pt x="9144" y="62294"/>
                      <a:pt x="9144" y="57626"/>
                    </a:cubicBezTo>
                    <a:lnTo>
                      <a:pt x="9144" y="9811"/>
                    </a:lnTo>
                    <a:cubicBezTo>
                      <a:pt x="9144" y="5144"/>
                      <a:pt x="7429" y="3334"/>
                      <a:pt x="0" y="3334"/>
                    </a:cubicBezTo>
                    <a:lnTo>
                      <a:pt x="0" y="0"/>
                    </a:lnTo>
                    <a:lnTo>
                      <a:pt x="55531" y="0"/>
                    </a:lnTo>
                    <a:lnTo>
                      <a:pt x="56102" y="24003"/>
                    </a:lnTo>
                    <a:lnTo>
                      <a:pt x="53054" y="24003"/>
                    </a:lnTo>
                    <a:cubicBezTo>
                      <a:pt x="48292" y="9144"/>
                      <a:pt x="42863" y="3239"/>
                      <a:pt x="29718" y="3239"/>
                    </a:cubicBezTo>
                    <a:cubicBezTo>
                      <a:pt x="24003" y="3239"/>
                      <a:pt x="19050" y="4763"/>
                      <a:pt x="19050" y="9716"/>
                    </a:cubicBezTo>
                    <a:lnTo>
                      <a:pt x="19050" y="30480"/>
                    </a:lnTo>
                    <a:cubicBezTo>
                      <a:pt x="29337" y="30290"/>
                      <a:pt x="33719" y="29337"/>
                      <a:pt x="35243" y="18669"/>
                    </a:cubicBezTo>
                    <a:lnTo>
                      <a:pt x="38005" y="18669"/>
                    </a:lnTo>
                    <a:cubicBezTo>
                      <a:pt x="38005" y="18669"/>
                      <a:pt x="38005" y="45625"/>
                      <a:pt x="38005" y="45625"/>
                    </a:cubicBezTo>
                    <a:lnTo>
                      <a:pt x="35243" y="45625"/>
                    </a:lnTo>
                    <a:cubicBezTo>
                      <a:pt x="33719" y="35052"/>
                      <a:pt x="29242" y="34004"/>
                      <a:pt x="19050" y="33814"/>
                    </a:cubicBezTo>
                    <a:lnTo>
                      <a:pt x="19050" y="59722"/>
                    </a:lnTo>
                    <a:cubicBezTo>
                      <a:pt x="19050" y="62865"/>
                      <a:pt x="21050" y="64008"/>
                      <a:pt x="27051" y="64008"/>
                    </a:cubicBezTo>
                    <a:cubicBezTo>
                      <a:pt x="40196" y="64008"/>
                      <a:pt x="50387" y="61055"/>
                      <a:pt x="54673" y="42101"/>
                    </a:cubicBezTo>
                    <a:lnTo>
                      <a:pt x="57721" y="42101"/>
                    </a:lnTo>
                    <a:lnTo>
                      <a:pt x="57150" y="67342"/>
                    </a:lnTo>
                    <a:lnTo>
                      <a:pt x="57150" y="67342"/>
                    </a:lnTo>
                    <a:close/>
                  </a:path>
                </a:pathLst>
              </a:custGeom>
              <a:solidFill>
                <a:srgbClr val="1D1E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71" name="Freihandform: Form 499">
                <a:extLst>
                  <a:ext uri="{FF2B5EF4-FFF2-40B4-BE49-F238E27FC236}">
                    <a16:creationId xmlns:a16="http://schemas.microsoft.com/office/drawing/2014/main" id="{E372F79E-4A1B-F801-FBBD-1CE227842365}"/>
                  </a:ext>
                </a:extLst>
              </p:cNvPr>
              <p:cNvSpPr/>
              <p:nvPr/>
            </p:nvSpPr>
            <p:spPr>
              <a:xfrm>
                <a:off x="3962773" y="6038625"/>
                <a:ext cx="56959" cy="69722"/>
              </a:xfrm>
              <a:custGeom>
                <a:avLst/>
                <a:gdLst>
                  <a:gd name="connsiteX0" fmla="*/ 54769 w 56959"/>
                  <a:gd name="connsiteY0" fmla="*/ 1905 h 69722"/>
                  <a:gd name="connsiteX1" fmla="*/ 54769 w 56959"/>
                  <a:gd name="connsiteY1" fmla="*/ 24955 h 69722"/>
                  <a:gd name="connsiteX2" fmla="*/ 52197 w 56959"/>
                  <a:gd name="connsiteY2" fmla="*/ 24955 h 69722"/>
                  <a:gd name="connsiteX3" fmla="*/ 32004 w 56959"/>
                  <a:gd name="connsiteY3" fmla="*/ 3429 h 69722"/>
                  <a:gd name="connsiteX4" fmla="*/ 11430 w 56959"/>
                  <a:gd name="connsiteY4" fmla="*/ 34957 h 69722"/>
                  <a:gd name="connsiteX5" fmla="*/ 31718 w 56959"/>
                  <a:gd name="connsiteY5" fmla="*/ 66484 h 69722"/>
                  <a:gd name="connsiteX6" fmla="*/ 54197 w 56959"/>
                  <a:gd name="connsiteY6" fmla="*/ 43148 h 69722"/>
                  <a:gd name="connsiteX7" fmla="*/ 56960 w 56959"/>
                  <a:gd name="connsiteY7" fmla="*/ 43148 h 69722"/>
                  <a:gd name="connsiteX8" fmla="*/ 29909 w 56959"/>
                  <a:gd name="connsiteY8" fmla="*/ 69723 h 69722"/>
                  <a:gd name="connsiteX9" fmla="*/ 0 w 56959"/>
                  <a:gd name="connsiteY9" fmla="*/ 34862 h 69722"/>
                  <a:gd name="connsiteX10" fmla="*/ 30956 w 56959"/>
                  <a:gd name="connsiteY10" fmla="*/ 0 h 69722"/>
                  <a:gd name="connsiteX11" fmla="*/ 48387 w 56959"/>
                  <a:gd name="connsiteY11" fmla="*/ 5429 h 69722"/>
                  <a:gd name="connsiteX12" fmla="*/ 52388 w 56959"/>
                  <a:gd name="connsiteY12" fmla="*/ 1715 h 69722"/>
                  <a:gd name="connsiteX13" fmla="*/ 54673 w 56959"/>
                  <a:gd name="connsiteY13" fmla="*/ 1715 h 69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6959" h="69722">
                    <a:moveTo>
                      <a:pt x="54769" y="1905"/>
                    </a:moveTo>
                    <a:lnTo>
                      <a:pt x="54769" y="24955"/>
                    </a:lnTo>
                    <a:lnTo>
                      <a:pt x="52197" y="24955"/>
                    </a:lnTo>
                    <a:cubicBezTo>
                      <a:pt x="49149" y="14097"/>
                      <a:pt x="44577" y="3429"/>
                      <a:pt x="32004" y="3429"/>
                    </a:cubicBezTo>
                    <a:cubicBezTo>
                      <a:pt x="17907" y="3429"/>
                      <a:pt x="11430" y="13716"/>
                      <a:pt x="11430" y="34957"/>
                    </a:cubicBezTo>
                    <a:cubicBezTo>
                      <a:pt x="11430" y="58483"/>
                      <a:pt x="23146" y="66484"/>
                      <a:pt x="31718" y="66484"/>
                    </a:cubicBezTo>
                    <a:cubicBezTo>
                      <a:pt x="47339" y="66484"/>
                      <a:pt x="53054" y="56197"/>
                      <a:pt x="54197" y="43148"/>
                    </a:cubicBezTo>
                    <a:lnTo>
                      <a:pt x="56960" y="43148"/>
                    </a:lnTo>
                    <a:cubicBezTo>
                      <a:pt x="56102" y="59245"/>
                      <a:pt x="48387" y="69723"/>
                      <a:pt x="29909" y="69723"/>
                    </a:cubicBezTo>
                    <a:cubicBezTo>
                      <a:pt x="13145" y="69723"/>
                      <a:pt x="0" y="52959"/>
                      <a:pt x="0" y="34862"/>
                    </a:cubicBezTo>
                    <a:cubicBezTo>
                      <a:pt x="0" y="16764"/>
                      <a:pt x="13145" y="0"/>
                      <a:pt x="30956" y="0"/>
                    </a:cubicBezTo>
                    <a:cubicBezTo>
                      <a:pt x="39719" y="0"/>
                      <a:pt x="46768" y="5429"/>
                      <a:pt x="48387" y="5429"/>
                    </a:cubicBezTo>
                    <a:cubicBezTo>
                      <a:pt x="50197" y="5429"/>
                      <a:pt x="51816" y="3429"/>
                      <a:pt x="52388" y="1715"/>
                    </a:cubicBezTo>
                    <a:lnTo>
                      <a:pt x="54673" y="1715"/>
                    </a:lnTo>
                    <a:close/>
                  </a:path>
                </a:pathLst>
              </a:custGeom>
              <a:solidFill>
                <a:srgbClr val="1D1E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72" name="Freihandform: Form 500">
                <a:extLst>
                  <a:ext uri="{FF2B5EF4-FFF2-40B4-BE49-F238E27FC236}">
                    <a16:creationId xmlns:a16="http://schemas.microsoft.com/office/drawing/2014/main" id="{0205F412-9973-5858-7EB8-79004E5E6E8B}"/>
                  </a:ext>
                </a:extLst>
              </p:cNvPr>
              <p:cNvSpPr/>
              <p:nvPr/>
            </p:nvSpPr>
            <p:spPr>
              <a:xfrm>
                <a:off x="4074025" y="6039482"/>
                <a:ext cx="67722" cy="67817"/>
              </a:xfrm>
              <a:custGeom>
                <a:avLst/>
                <a:gdLst>
                  <a:gd name="connsiteX0" fmla="*/ 25432 w 67722"/>
                  <a:gd name="connsiteY0" fmla="*/ 67818 h 67817"/>
                  <a:gd name="connsiteX1" fmla="*/ 25432 w 67722"/>
                  <a:gd name="connsiteY1" fmla="*/ 64484 h 67817"/>
                  <a:gd name="connsiteX2" fmla="*/ 15050 w 67722"/>
                  <a:gd name="connsiteY2" fmla="*/ 59341 h 67817"/>
                  <a:gd name="connsiteX3" fmla="*/ 19526 w 67722"/>
                  <a:gd name="connsiteY3" fmla="*/ 45148 h 67817"/>
                  <a:gd name="connsiteX4" fmla="*/ 42672 w 67722"/>
                  <a:gd name="connsiteY4" fmla="*/ 45148 h 67817"/>
                  <a:gd name="connsiteX5" fmla="*/ 48196 w 67722"/>
                  <a:gd name="connsiteY5" fmla="*/ 60769 h 67817"/>
                  <a:gd name="connsiteX6" fmla="*/ 40481 w 67722"/>
                  <a:gd name="connsiteY6" fmla="*/ 64389 h 67817"/>
                  <a:gd name="connsiteX7" fmla="*/ 40481 w 67722"/>
                  <a:gd name="connsiteY7" fmla="*/ 67723 h 67817"/>
                  <a:gd name="connsiteX8" fmla="*/ 67723 w 67722"/>
                  <a:gd name="connsiteY8" fmla="*/ 67723 h 67817"/>
                  <a:gd name="connsiteX9" fmla="*/ 67723 w 67722"/>
                  <a:gd name="connsiteY9" fmla="*/ 64389 h 67817"/>
                  <a:gd name="connsiteX10" fmla="*/ 56864 w 67722"/>
                  <a:gd name="connsiteY10" fmla="*/ 55054 h 67817"/>
                  <a:gd name="connsiteX11" fmla="*/ 35433 w 67722"/>
                  <a:gd name="connsiteY11" fmla="*/ 0 h 67817"/>
                  <a:gd name="connsiteX12" fmla="*/ 31909 w 67722"/>
                  <a:gd name="connsiteY12" fmla="*/ 0 h 67817"/>
                  <a:gd name="connsiteX13" fmla="*/ 12097 w 67722"/>
                  <a:gd name="connsiteY13" fmla="*/ 54007 h 67817"/>
                  <a:gd name="connsiteX14" fmla="*/ 0 w 67722"/>
                  <a:gd name="connsiteY14" fmla="*/ 64389 h 67817"/>
                  <a:gd name="connsiteX15" fmla="*/ 0 w 67722"/>
                  <a:gd name="connsiteY15" fmla="*/ 67723 h 67817"/>
                  <a:gd name="connsiteX16" fmla="*/ 25527 w 67722"/>
                  <a:gd name="connsiteY16" fmla="*/ 67723 h 67817"/>
                  <a:gd name="connsiteX17" fmla="*/ 20955 w 67722"/>
                  <a:gd name="connsiteY17" fmla="*/ 41148 h 67817"/>
                  <a:gd name="connsiteX18" fmla="*/ 30766 w 67722"/>
                  <a:gd name="connsiteY18" fmla="*/ 15430 h 67817"/>
                  <a:gd name="connsiteX19" fmla="*/ 41148 w 67722"/>
                  <a:gd name="connsiteY19" fmla="*/ 41148 h 67817"/>
                  <a:gd name="connsiteX20" fmla="*/ 20955 w 67722"/>
                  <a:gd name="connsiteY20" fmla="*/ 41148 h 67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7722" h="67817">
                    <a:moveTo>
                      <a:pt x="25432" y="67818"/>
                    </a:moveTo>
                    <a:lnTo>
                      <a:pt x="25432" y="64484"/>
                    </a:lnTo>
                    <a:cubicBezTo>
                      <a:pt x="17050" y="64484"/>
                      <a:pt x="15050" y="63151"/>
                      <a:pt x="15050" y="59341"/>
                    </a:cubicBezTo>
                    <a:cubicBezTo>
                      <a:pt x="15050" y="56578"/>
                      <a:pt x="17907" y="50673"/>
                      <a:pt x="19526" y="45148"/>
                    </a:cubicBezTo>
                    <a:lnTo>
                      <a:pt x="42672" y="45148"/>
                    </a:lnTo>
                    <a:cubicBezTo>
                      <a:pt x="45339" y="50864"/>
                      <a:pt x="48196" y="58674"/>
                      <a:pt x="48196" y="60769"/>
                    </a:cubicBezTo>
                    <a:cubicBezTo>
                      <a:pt x="48196" y="63627"/>
                      <a:pt x="47816" y="64389"/>
                      <a:pt x="40481" y="64389"/>
                    </a:cubicBezTo>
                    <a:lnTo>
                      <a:pt x="40481" y="67723"/>
                    </a:lnTo>
                    <a:lnTo>
                      <a:pt x="67723" y="67723"/>
                    </a:lnTo>
                    <a:lnTo>
                      <a:pt x="67723" y="64389"/>
                    </a:lnTo>
                    <a:cubicBezTo>
                      <a:pt x="62008" y="64389"/>
                      <a:pt x="59817" y="62579"/>
                      <a:pt x="56864" y="55054"/>
                    </a:cubicBezTo>
                    <a:lnTo>
                      <a:pt x="35433" y="0"/>
                    </a:lnTo>
                    <a:lnTo>
                      <a:pt x="31909" y="0"/>
                    </a:lnTo>
                    <a:lnTo>
                      <a:pt x="12097" y="54007"/>
                    </a:lnTo>
                    <a:cubicBezTo>
                      <a:pt x="9906" y="60007"/>
                      <a:pt x="7906" y="64389"/>
                      <a:pt x="0" y="64389"/>
                    </a:cubicBezTo>
                    <a:lnTo>
                      <a:pt x="0" y="67723"/>
                    </a:lnTo>
                    <a:lnTo>
                      <a:pt x="25527" y="67723"/>
                    </a:lnTo>
                    <a:close/>
                    <a:moveTo>
                      <a:pt x="20955" y="41148"/>
                    </a:moveTo>
                    <a:lnTo>
                      <a:pt x="30766" y="15430"/>
                    </a:lnTo>
                    <a:lnTo>
                      <a:pt x="41148" y="41148"/>
                    </a:lnTo>
                    <a:lnTo>
                      <a:pt x="20955" y="41148"/>
                    </a:lnTo>
                    <a:close/>
                  </a:path>
                </a:pathLst>
              </a:custGeom>
              <a:solidFill>
                <a:srgbClr val="1D1E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73" name="Freihandform: Form 501">
                <a:extLst>
                  <a:ext uri="{FF2B5EF4-FFF2-40B4-BE49-F238E27FC236}">
                    <a16:creationId xmlns:a16="http://schemas.microsoft.com/office/drawing/2014/main" id="{5B8F22DC-0133-6296-F8C9-8E4559A34082}"/>
                  </a:ext>
                </a:extLst>
              </p:cNvPr>
              <p:cNvSpPr/>
              <p:nvPr/>
            </p:nvSpPr>
            <p:spPr>
              <a:xfrm>
                <a:off x="4193469" y="6039958"/>
                <a:ext cx="28765" cy="67436"/>
              </a:xfrm>
              <a:custGeom>
                <a:avLst/>
                <a:gdLst>
                  <a:gd name="connsiteX0" fmla="*/ 28765 w 28765"/>
                  <a:gd name="connsiteY0" fmla="*/ 0 h 67436"/>
                  <a:gd name="connsiteX1" fmla="*/ 28765 w 28765"/>
                  <a:gd name="connsiteY1" fmla="*/ 3334 h 67436"/>
                  <a:gd name="connsiteX2" fmla="*/ 19336 w 28765"/>
                  <a:gd name="connsiteY2" fmla="*/ 9811 h 67436"/>
                  <a:gd name="connsiteX3" fmla="*/ 19336 w 28765"/>
                  <a:gd name="connsiteY3" fmla="*/ 57626 h 67436"/>
                  <a:gd name="connsiteX4" fmla="*/ 28765 w 28765"/>
                  <a:gd name="connsiteY4" fmla="*/ 64103 h 67436"/>
                  <a:gd name="connsiteX5" fmla="*/ 28765 w 28765"/>
                  <a:gd name="connsiteY5" fmla="*/ 67437 h 67436"/>
                  <a:gd name="connsiteX6" fmla="*/ 0 w 28765"/>
                  <a:gd name="connsiteY6" fmla="*/ 67437 h 67436"/>
                  <a:gd name="connsiteX7" fmla="*/ 0 w 28765"/>
                  <a:gd name="connsiteY7" fmla="*/ 64103 h 67436"/>
                  <a:gd name="connsiteX8" fmla="*/ 9430 w 28765"/>
                  <a:gd name="connsiteY8" fmla="*/ 57626 h 67436"/>
                  <a:gd name="connsiteX9" fmla="*/ 9430 w 28765"/>
                  <a:gd name="connsiteY9" fmla="*/ 9811 h 67436"/>
                  <a:gd name="connsiteX10" fmla="*/ 0 w 28765"/>
                  <a:gd name="connsiteY10" fmla="*/ 3334 h 67436"/>
                  <a:gd name="connsiteX11" fmla="*/ 0 w 28765"/>
                  <a:gd name="connsiteY11" fmla="*/ 0 h 67436"/>
                  <a:gd name="connsiteX12" fmla="*/ 28765 w 28765"/>
                  <a:gd name="connsiteY12" fmla="*/ 0 h 67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765" h="67436">
                    <a:moveTo>
                      <a:pt x="28765" y="0"/>
                    </a:moveTo>
                    <a:lnTo>
                      <a:pt x="28765" y="3334"/>
                    </a:lnTo>
                    <a:cubicBezTo>
                      <a:pt x="21050" y="3334"/>
                      <a:pt x="19336" y="5144"/>
                      <a:pt x="19336" y="9811"/>
                    </a:cubicBezTo>
                    <a:lnTo>
                      <a:pt x="19336" y="57626"/>
                    </a:lnTo>
                    <a:cubicBezTo>
                      <a:pt x="19336" y="62294"/>
                      <a:pt x="21050" y="64103"/>
                      <a:pt x="28765" y="64103"/>
                    </a:cubicBezTo>
                    <a:lnTo>
                      <a:pt x="28765" y="67437"/>
                    </a:lnTo>
                    <a:lnTo>
                      <a:pt x="0" y="67437"/>
                    </a:lnTo>
                    <a:lnTo>
                      <a:pt x="0" y="64103"/>
                    </a:lnTo>
                    <a:cubicBezTo>
                      <a:pt x="7715" y="64103"/>
                      <a:pt x="9430" y="62294"/>
                      <a:pt x="9430" y="57626"/>
                    </a:cubicBezTo>
                    <a:lnTo>
                      <a:pt x="9430" y="9811"/>
                    </a:lnTo>
                    <a:cubicBezTo>
                      <a:pt x="9430" y="5144"/>
                      <a:pt x="7811" y="3334"/>
                      <a:pt x="0" y="3334"/>
                    </a:cubicBezTo>
                    <a:lnTo>
                      <a:pt x="0" y="0"/>
                    </a:lnTo>
                    <a:lnTo>
                      <a:pt x="28765" y="0"/>
                    </a:lnTo>
                    <a:close/>
                  </a:path>
                </a:pathLst>
              </a:custGeom>
              <a:solidFill>
                <a:srgbClr val="1D1E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74" name="Freihandform: Form 502">
                <a:extLst>
                  <a:ext uri="{FF2B5EF4-FFF2-40B4-BE49-F238E27FC236}">
                    <a16:creationId xmlns:a16="http://schemas.microsoft.com/office/drawing/2014/main" id="{AE33B779-6113-8180-052C-60C8299D2CAE}"/>
                  </a:ext>
                </a:extLst>
              </p:cNvPr>
              <p:cNvSpPr/>
              <p:nvPr/>
            </p:nvSpPr>
            <p:spPr>
              <a:xfrm>
                <a:off x="4277670" y="6039863"/>
                <a:ext cx="51911" cy="67436"/>
              </a:xfrm>
              <a:custGeom>
                <a:avLst/>
                <a:gdLst>
                  <a:gd name="connsiteX0" fmla="*/ 51435 w 51911"/>
                  <a:gd name="connsiteY0" fmla="*/ 67437 h 67436"/>
                  <a:gd name="connsiteX1" fmla="*/ 0 w 51911"/>
                  <a:gd name="connsiteY1" fmla="*/ 67437 h 67436"/>
                  <a:gd name="connsiteX2" fmla="*/ 0 w 51911"/>
                  <a:gd name="connsiteY2" fmla="*/ 64103 h 67436"/>
                  <a:gd name="connsiteX3" fmla="*/ 8858 w 51911"/>
                  <a:gd name="connsiteY3" fmla="*/ 57626 h 67436"/>
                  <a:gd name="connsiteX4" fmla="*/ 8858 w 51911"/>
                  <a:gd name="connsiteY4" fmla="*/ 9811 h 67436"/>
                  <a:gd name="connsiteX5" fmla="*/ 191 w 51911"/>
                  <a:gd name="connsiteY5" fmla="*/ 3334 h 67436"/>
                  <a:gd name="connsiteX6" fmla="*/ 191 w 51911"/>
                  <a:gd name="connsiteY6" fmla="*/ 0 h 67436"/>
                  <a:gd name="connsiteX7" fmla="*/ 28194 w 51911"/>
                  <a:gd name="connsiteY7" fmla="*/ 0 h 67436"/>
                  <a:gd name="connsiteX8" fmla="*/ 28194 w 51911"/>
                  <a:gd name="connsiteY8" fmla="*/ 3334 h 67436"/>
                  <a:gd name="connsiteX9" fmla="*/ 18764 w 51911"/>
                  <a:gd name="connsiteY9" fmla="*/ 9811 h 67436"/>
                  <a:gd name="connsiteX10" fmla="*/ 18764 w 51911"/>
                  <a:gd name="connsiteY10" fmla="*/ 57626 h 67436"/>
                  <a:gd name="connsiteX11" fmla="*/ 25908 w 51911"/>
                  <a:gd name="connsiteY11" fmla="*/ 64103 h 67436"/>
                  <a:gd name="connsiteX12" fmla="*/ 48863 w 51911"/>
                  <a:gd name="connsiteY12" fmla="*/ 42291 h 67436"/>
                  <a:gd name="connsiteX13" fmla="*/ 51911 w 51911"/>
                  <a:gd name="connsiteY13" fmla="*/ 42291 h 67436"/>
                  <a:gd name="connsiteX14" fmla="*/ 51340 w 51911"/>
                  <a:gd name="connsiteY14" fmla="*/ 67437 h 67436"/>
                  <a:gd name="connsiteX15" fmla="*/ 51340 w 51911"/>
                  <a:gd name="connsiteY15" fmla="*/ 67437 h 67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1911" h="67436">
                    <a:moveTo>
                      <a:pt x="51435" y="67437"/>
                    </a:moveTo>
                    <a:lnTo>
                      <a:pt x="0" y="67437"/>
                    </a:lnTo>
                    <a:lnTo>
                      <a:pt x="0" y="64103"/>
                    </a:lnTo>
                    <a:cubicBezTo>
                      <a:pt x="7144" y="64103"/>
                      <a:pt x="8858" y="62294"/>
                      <a:pt x="8858" y="57626"/>
                    </a:cubicBezTo>
                    <a:lnTo>
                      <a:pt x="8858" y="9811"/>
                    </a:lnTo>
                    <a:cubicBezTo>
                      <a:pt x="8858" y="5144"/>
                      <a:pt x="7144" y="3334"/>
                      <a:pt x="191" y="3334"/>
                    </a:cubicBezTo>
                    <a:lnTo>
                      <a:pt x="191" y="0"/>
                    </a:lnTo>
                    <a:lnTo>
                      <a:pt x="28194" y="0"/>
                    </a:lnTo>
                    <a:lnTo>
                      <a:pt x="28194" y="3334"/>
                    </a:lnTo>
                    <a:cubicBezTo>
                      <a:pt x="20479" y="3334"/>
                      <a:pt x="18764" y="5144"/>
                      <a:pt x="18764" y="9811"/>
                    </a:cubicBezTo>
                    <a:lnTo>
                      <a:pt x="18764" y="57626"/>
                    </a:lnTo>
                    <a:cubicBezTo>
                      <a:pt x="18764" y="62294"/>
                      <a:pt x="20955" y="64103"/>
                      <a:pt x="25908" y="64103"/>
                    </a:cubicBezTo>
                    <a:cubicBezTo>
                      <a:pt x="34385" y="64103"/>
                      <a:pt x="44577" y="61151"/>
                      <a:pt x="48863" y="42291"/>
                    </a:cubicBezTo>
                    <a:lnTo>
                      <a:pt x="51911" y="42291"/>
                    </a:lnTo>
                    <a:lnTo>
                      <a:pt x="51340" y="67437"/>
                    </a:lnTo>
                    <a:lnTo>
                      <a:pt x="51340" y="67437"/>
                    </a:lnTo>
                    <a:close/>
                  </a:path>
                </a:pathLst>
              </a:custGeom>
              <a:solidFill>
                <a:srgbClr val="1D1E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75" name="Freihandform: Form 503">
                <a:extLst>
                  <a:ext uri="{FF2B5EF4-FFF2-40B4-BE49-F238E27FC236}">
                    <a16:creationId xmlns:a16="http://schemas.microsoft.com/office/drawing/2014/main" id="{036DBB4C-C97B-3F8B-B8DB-9A924378AA20}"/>
                  </a:ext>
                </a:extLst>
              </p:cNvPr>
              <p:cNvSpPr/>
              <p:nvPr/>
            </p:nvSpPr>
            <p:spPr>
              <a:xfrm>
                <a:off x="4383969" y="6039863"/>
                <a:ext cx="51911" cy="67436"/>
              </a:xfrm>
              <a:custGeom>
                <a:avLst/>
                <a:gdLst>
                  <a:gd name="connsiteX0" fmla="*/ 51340 w 51911"/>
                  <a:gd name="connsiteY0" fmla="*/ 67437 h 67436"/>
                  <a:gd name="connsiteX1" fmla="*/ 0 w 51911"/>
                  <a:gd name="connsiteY1" fmla="*/ 67437 h 67436"/>
                  <a:gd name="connsiteX2" fmla="*/ 0 w 51911"/>
                  <a:gd name="connsiteY2" fmla="*/ 64103 h 67436"/>
                  <a:gd name="connsiteX3" fmla="*/ 8858 w 51911"/>
                  <a:gd name="connsiteY3" fmla="*/ 57626 h 67436"/>
                  <a:gd name="connsiteX4" fmla="*/ 8858 w 51911"/>
                  <a:gd name="connsiteY4" fmla="*/ 9811 h 67436"/>
                  <a:gd name="connsiteX5" fmla="*/ 190 w 51911"/>
                  <a:gd name="connsiteY5" fmla="*/ 3334 h 67436"/>
                  <a:gd name="connsiteX6" fmla="*/ 190 w 51911"/>
                  <a:gd name="connsiteY6" fmla="*/ 0 h 67436"/>
                  <a:gd name="connsiteX7" fmla="*/ 28194 w 51911"/>
                  <a:gd name="connsiteY7" fmla="*/ 0 h 67436"/>
                  <a:gd name="connsiteX8" fmla="*/ 28194 w 51911"/>
                  <a:gd name="connsiteY8" fmla="*/ 3334 h 67436"/>
                  <a:gd name="connsiteX9" fmla="*/ 18764 w 51911"/>
                  <a:gd name="connsiteY9" fmla="*/ 9811 h 67436"/>
                  <a:gd name="connsiteX10" fmla="*/ 18764 w 51911"/>
                  <a:gd name="connsiteY10" fmla="*/ 57626 h 67436"/>
                  <a:gd name="connsiteX11" fmla="*/ 25908 w 51911"/>
                  <a:gd name="connsiteY11" fmla="*/ 64103 h 67436"/>
                  <a:gd name="connsiteX12" fmla="*/ 48863 w 51911"/>
                  <a:gd name="connsiteY12" fmla="*/ 42291 h 67436"/>
                  <a:gd name="connsiteX13" fmla="*/ 51911 w 51911"/>
                  <a:gd name="connsiteY13" fmla="*/ 42291 h 67436"/>
                  <a:gd name="connsiteX14" fmla="*/ 51340 w 51911"/>
                  <a:gd name="connsiteY14" fmla="*/ 67437 h 67436"/>
                  <a:gd name="connsiteX15" fmla="*/ 51340 w 51911"/>
                  <a:gd name="connsiteY15" fmla="*/ 67437 h 67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1911" h="67436">
                    <a:moveTo>
                      <a:pt x="51340" y="67437"/>
                    </a:moveTo>
                    <a:lnTo>
                      <a:pt x="0" y="67437"/>
                    </a:lnTo>
                    <a:lnTo>
                      <a:pt x="0" y="64103"/>
                    </a:lnTo>
                    <a:cubicBezTo>
                      <a:pt x="7144" y="64103"/>
                      <a:pt x="8858" y="62294"/>
                      <a:pt x="8858" y="57626"/>
                    </a:cubicBezTo>
                    <a:lnTo>
                      <a:pt x="8858" y="9811"/>
                    </a:lnTo>
                    <a:cubicBezTo>
                      <a:pt x="8858" y="5144"/>
                      <a:pt x="7144" y="3334"/>
                      <a:pt x="190" y="3334"/>
                    </a:cubicBezTo>
                    <a:lnTo>
                      <a:pt x="190" y="0"/>
                    </a:lnTo>
                    <a:lnTo>
                      <a:pt x="28194" y="0"/>
                    </a:lnTo>
                    <a:lnTo>
                      <a:pt x="28194" y="3334"/>
                    </a:lnTo>
                    <a:cubicBezTo>
                      <a:pt x="20479" y="3334"/>
                      <a:pt x="18764" y="5144"/>
                      <a:pt x="18764" y="9811"/>
                    </a:cubicBezTo>
                    <a:lnTo>
                      <a:pt x="18764" y="57626"/>
                    </a:lnTo>
                    <a:cubicBezTo>
                      <a:pt x="18764" y="62294"/>
                      <a:pt x="20955" y="64103"/>
                      <a:pt x="25908" y="64103"/>
                    </a:cubicBezTo>
                    <a:cubicBezTo>
                      <a:pt x="34385" y="64103"/>
                      <a:pt x="44577" y="61151"/>
                      <a:pt x="48863" y="42291"/>
                    </a:cubicBezTo>
                    <a:lnTo>
                      <a:pt x="51911" y="42291"/>
                    </a:lnTo>
                    <a:lnTo>
                      <a:pt x="51340" y="67437"/>
                    </a:lnTo>
                    <a:lnTo>
                      <a:pt x="51340" y="67437"/>
                    </a:lnTo>
                    <a:close/>
                  </a:path>
                </a:pathLst>
              </a:custGeom>
              <a:solidFill>
                <a:srgbClr val="1D1E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76" name="Freihandform: Form 504">
                <a:extLst>
                  <a:ext uri="{FF2B5EF4-FFF2-40B4-BE49-F238E27FC236}">
                    <a16:creationId xmlns:a16="http://schemas.microsoft.com/office/drawing/2014/main" id="{C16264E2-1C99-B6D1-E141-EBBB6D0D53A1}"/>
                  </a:ext>
                </a:extLst>
              </p:cNvPr>
              <p:cNvSpPr/>
              <p:nvPr/>
            </p:nvSpPr>
            <p:spPr>
              <a:xfrm>
                <a:off x="4491411" y="6039863"/>
                <a:ext cx="57721" cy="67436"/>
              </a:xfrm>
              <a:custGeom>
                <a:avLst/>
                <a:gdLst>
                  <a:gd name="connsiteX0" fmla="*/ 57150 w 57721"/>
                  <a:gd name="connsiteY0" fmla="*/ 67437 h 67436"/>
                  <a:gd name="connsiteX1" fmla="*/ 0 w 57721"/>
                  <a:gd name="connsiteY1" fmla="*/ 67437 h 67436"/>
                  <a:gd name="connsiteX2" fmla="*/ 0 w 57721"/>
                  <a:gd name="connsiteY2" fmla="*/ 64103 h 67436"/>
                  <a:gd name="connsiteX3" fmla="*/ 9144 w 57721"/>
                  <a:gd name="connsiteY3" fmla="*/ 57626 h 67436"/>
                  <a:gd name="connsiteX4" fmla="*/ 9144 w 57721"/>
                  <a:gd name="connsiteY4" fmla="*/ 9811 h 67436"/>
                  <a:gd name="connsiteX5" fmla="*/ 0 w 57721"/>
                  <a:gd name="connsiteY5" fmla="*/ 3334 h 67436"/>
                  <a:gd name="connsiteX6" fmla="*/ 0 w 57721"/>
                  <a:gd name="connsiteY6" fmla="*/ 0 h 67436"/>
                  <a:gd name="connsiteX7" fmla="*/ 55531 w 57721"/>
                  <a:gd name="connsiteY7" fmla="*/ 0 h 67436"/>
                  <a:gd name="connsiteX8" fmla="*/ 56102 w 57721"/>
                  <a:gd name="connsiteY8" fmla="*/ 24003 h 67436"/>
                  <a:gd name="connsiteX9" fmla="*/ 53054 w 57721"/>
                  <a:gd name="connsiteY9" fmla="*/ 24003 h 67436"/>
                  <a:gd name="connsiteX10" fmla="*/ 29718 w 57721"/>
                  <a:gd name="connsiteY10" fmla="*/ 3239 h 67436"/>
                  <a:gd name="connsiteX11" fmla="*/ 19050 w 57721"/>
                  <a:gd name="connsiteY11" fmla="*/ 9716 h 67436"/>
                  <a:gd name="connsiteX12" fmla="*/ 19050 w 57721"/>
                  <a:gd name="connsiteY12" fmla="*/ 30480 h 67436"/>
                  <a:gd name="connsiteX13" fmla="*/ 35243 w 57721"/>
                  <a:gd name="connsiteY13" fmla="*/ 18669 h 67436"/>
                  <a:gd name="connsiteX14" fmla="*/ 38005 w 57721"/>
                  <a:gd name="connsiteY14" fmla="*/ 18669 h 67436"/>
                  <a:gd name="connsiteX15" fmla="*/ 38005 w 57721"/>
                  <a:gd name="connsiteY15" fmla="*/ 45625 h 67436"/>
                  <a:gd name="connsiteX16" fmla="*/ 35243 w 57721"/>
                  <a:gd name="connsiteY16" fmla="*/ 45625 h 67436"/>
                  <a:gd name="connsiteX17" fmla="*/ 19050 w 57721"/>
                  <a:gd name="connsiteY17" fmla="*/ 33814 h 67436"/>
                  <a:gd name="connsiteX18" fmla="*/ 19050 w 57721"/>
                  <a:gd name="connsiteY18" fmla="*/ 59722 h 67436"/>
                  <a:gd name="connsiteX19" fmla="*/ 27051 w 57721"/>
                  <a:gd name="connsiteY19" fmla="*/ 64008 h 67436"/>
                  <a:gd name="connsiteX20" fmla="*/ 54673 w 57721"/>
                  <a:gd name="connsiteY20" fmla="*/ 42101 h 67436"/>
                  <a:gd name="connsiteX21" fmla="*/ 57721 w 57721"/>
                  <a:gd name="connsiteY21" fmla="*/ 42101 h 67436"/>
                  <a:gd name="connsiteX22" fmla="*/ 57150 w 57721"/>
                  <a:gd name="connsiteY22" fmla="*/ 67342 h 67436"/>
                  <a:gd name="connsiteX23" fmla="*/ 57150 w 57721"/>
                  <a:gd name="connsiteY23" fmla="*/ 67342 h 67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7721" h="67436">
                    <a:moveTo>
                      <a:pt x="57150" y="67437"/>
                    </a:moveTo>
                    <a:lnTo>
                      <a:pt x="0" y="67437"/>
                    </a:lnTo>
                    <a:lnTo>
                      <a:pt x="0" y="64103"/>
                    </a:lnTo>
                    <a:cubicBezTo>
                      <a:pt x="7429" y="64103"/>
                      <a:pt x="9144" y="62294"/>
                      <a:pt x="9144" y="57626"/>
                    </a:cubicBezTo>
                    <a:lnTo>
                      <a:pt x="9144" y="9811"/>
                    </a:lnTo>
                    <a:cubicBezTo>
                      <a:pt x="9144" y="5144"/>
                      <a:pt x="7429" y="3334"/>
                      <a:pt x="0" y="3334"/>
                    </a:cubicBezTo>
                    <a:lnTo>
                      <a:pt x="0" y="0"/>
                    </a:lnTo>
                    <a:lnTo>
                      <a:pt x="55531" y="0"/>
                    </a:lnTo>
                    <a:lnTo>
                      <a:pt x="56102" y="24003"/>
                    </a:lnTo>
                    <a:lnTo>
                      <a:pt x="53054" y="24003"/>
                    </a:lnTo>
                    <a:cubicBezTo>
                      <a:pt x="48292" y="9144"/>
                      <a:pt x="42863" y="3239"/>
                      <a:pt x="29718" y="3239"/>
                    </a:cubicBezTo>
                    <a:cubicBezTo>
                      <a:pt x="23908" y="3239"/>
                      <a:pt x="19050" y="4763"/>
                      <a:pt x="19050" y="9716"/>
                    </a:cubicBezTo>
                    <a:lnTo>
                      <a:pt x="19050" y="30480"/>
                    </a:lnTo>
                    <a:cubicBezTo>
                      <a:pt x="29337" y="30290"/>
                      <a:pt x="33719" y="29337"/>
                      <a:pt x="35243" y="18669"/>
                    </a:cubicBezTo>
                    <a:lnTo>
                      <a:pt x="38005" y="18669"/>
                    </a:lnTo>
                    <a:cubicBezTo>
                      <a:pt x="38005" y="18669"/>
                      <a:pt x="38005" y="45625"/>
                      <a:pt x="38005" y="45625"/>
                    </a:cubicBezTo>
                    <a:lnTo>
                      <a:pt x="35243" y="45625"/>
                    </a:lnTo>
                    <a:cubicBezTo>
                      <a:pt x="33719" y="35052"/>
                      <a:pt x="29242" y="34004"/>
                      <a:pt x="19050" y="33814"/>
                    </a:cubicBezTo>
                    <a:lnTo>
                      <a:pt x="19050" y="59722"/>
                    </a:lnTo>
                    <a:cubicBezTo>
                      <a:pt x="19050" y="62865"/>
                      <a:pt x="21146" y="64008"/>
                      <a:pt x="27051" y="64008"/>
                    </a:cubicBezTo>
                    <a:cubicBezTo>
                      <a:pt x="40196" y="64008"/>
                      <a:pt x="50387" y="61055"/>
                      <a:pt x="54673" y="42101"/>
                    </a:cubicBezTo>
                    <a:lnTo>
                      <a:pt x="57721" y="42101"/>
                    </a:lnTo>
                    <a:lnTo>
                      <a:pt x="57150" y="67342"/>
                    </a:lnTo>
                    <a:lnTo>
                      <a:pt x="57150" y="67342"/>
                    </a:lnTo>
                    <a:close/>
                  </a:path>
                </a:pathLst>
              </a:custGeom>
              <a:solidFill>
                <a:srgbClr val="1D1E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3B1A1983-DD3D-BFB7-7093-FC453154E47F}"/>
                </a:ext>
              </a:extLst>
            </p:cNvPr>
            <p:cNvGrpSpPr/>
            <p:nvPr/>
          </p:nvGrpSpPr>
          <p:grpSpPr>
            <a:xfrm>
              <a:off x="-240704" y="6599933"/>
              <a:ext cx="552258" cy="225742"/>
              <a:chOff x="-240704" y="6599933"/>
              <a:chExt cx="552258" cy="225742"/>
            </a:xfrm>
          </p:grpSpPr>
          <p:sp>
            <p:nvSpPr>
              <p:cNvPr id="1046" name="Freihandform: Form 474">
                <a:extLst>
                  <a:ext uri="{FF2B5EF4-FFF2-40B4-BE49-F238E27FC236}">
                    <a16:creationId xmlns:a16="http://schemas.microsoft.com/office/drawing/2014/main" id="{5B4F84E5-25F2-C155-0EE7-2975F2D8919F}"/>
                  </a:ext>
                </a:extLst>
              </p:cNvPr>
              <p:cNvSpPr/>
              <p:nvPr/>
            </p:nvSpPr>
            <p:spPr>
              <a:xfrm>
                <a:off x="-240704" y="6771383"/>
                <a:ext cx="532352" cy="54292"/>
              </a:xfrm>
              <a:custGeom>
                <a:avLst/>
                <a:gdLst>
                  <a:gd name="connsiteX0" fmla="*/ 0 w 532352"/>
                  <a:gd name="connsiteY0" fmla="*/ 54292 h 54292"/>
                  <a:gd name="connsiteX1" fmla="*/ 532352 w 532352"/>
                  <a:gd name="connsiteY1" fmla="*/ 54292 h 54292"/>
                  <a:gd name="connsiteX2" fmla="*/ 532352 w 532352"/>
                  <a:gd name="connsiteY2" fmla="*/ 0 h 54292"/>
                  <a:gd name="connsiteX3" fmla="*/ 0 w 532352"/>
                  <a:gd name="connsiteY3" fmla="*/ 0 h 54292"/>
                  <a:gd name="connsiteX4" fmla="*/ 0 w 532352"/>
                  <a:gd name="connsiteY4" fmla="*/ 54292 h 54292"/>
                  <a:gd name="connsiteX5" fmla="*/ 0 w 532352"/>
                  <a:gd name="connsiteY5" fmla="*/ 54292 h 54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2352" h="54292">
                    <a:moveTo>
                      <a:pt x="0" y="54292"/>
                    </a:moveTo>
                    <a:lnTo>
                      <a:pt x="532352" y="54292"/>
                    </a:lnTo>
                    <a:lnTo>
                      <a:pt x="532352" y="0"/>
                    </a:lnTo>
                    <a:lnTo>
                      <a:pt x="0" y="0"/>
                    </a:lnTo>
                    <a:lnTo>
                      <a:pt x="0" y="54292"/>
                    </a:lnTo>
                    <a:lnTo>
                      <a:pt x="0" y="54292"/>
                    </a:lnTo>
                    <a:close/>
                  </a:path>
                </a:pathLst>
              </a:custGeom>
              <a:solidFill>
                <a:srgbClr val="C102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47" name="Freihandform: Form 475">
                <a:extLst>
                  <a:ext uri="{FF2B5EF4-FFF2-40B4-BE49-F238E27FC236}">
                    <a16:creationId xmlns:a16="http://schemas.microsoft.com/office/drawing/2014/main" id="{D4AEF52C-E2BD-54A6-B5FE-A6730A33D62F}"/>
                  </a:ext>
                </a:extLst>
              </p:cNvPr>
              <p:cNvSpPr/>
              <p:nvPr/>
            </p:nvSpPr>
            <p:spPr>
              <a:xfrm>
                <a:off x="294505" y="6625746"/>
                <a:ext cx="17049" cy="17049"/>
              </a:xfrm>
              <a:custGeom>
                <a:avLst/>
                <a:gdLst>
                  <a:gd name="connsiteX0" fmla="*/ 8573 w 17049"/>
                  <a:gd name="connsiteY0" fmla="*/ 0 h 17049"/>
                  <a:gd name="connsiteX1" fmla="*/ 0 w 17049"/>
                  <a:gd name="connsiteY1" fmla="*/ 8477 h 17049"/>
                  <a:gd name="connsiteX2" fmla="*/ 8573 w 17049"/>
                  <a:gd name="connsiteY2" fmla="*/ 17050 h 17049"/>
                  <a:gd name="connsiteX3" fmla="*/ 17050 w 17049"/>
                  <a:gd name="connsiteY3" fmla="*/ 8477 h 17049"/>
                  <a:gd name="connsiteX4" fmla="*/ 8573 w 17049"/>
                  <a:gd name="connsiteY4" fmla="*/ 0 h 17049"/>
                  <a:gd name="connsiteX5" fmla="*/ 8573 w 17049"/>
                  <a:gd name="connsiteY5" fmla="*/ 15811 h 17049"/>
                  <a:gd name="connsiteX6" fmla="*/ 1334 w 17049"/>
                  <a:gd name="connsiteY6" fmla="*/ 8573 h 17049"/>
                  <a:gd name="connsiteX7" fmla="*/ 8573 w 17049"/>
                  <a:gd name="connsiteY7" fmla="*/ 1333 h 17049"/>
                  <a:gd name="connsiteX8" fmla="*/ 15811 w 17049"/>
                  <a:gd name="connsiteY8" fmla="*/ 8573 h 17049"/>
                  <a:gd name="connsiteX9" fmla="*/ 8573 w 17049"/>
                  <a:gd name="connsiteY9" fmla="*/ 15811 h 1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049" h="17049">
                    <a:moveTo>
                      <a:pt x="8573" y="0"/>
                    </a:moveTo>
                    <a:cubicBezTo>
                      <a:pt x="3905" y="0"/>
                      <a:pt x="0" y="3810"/>
                      <a:pt x="0" y="8477"/>
                    </a:cubicBezTo>
                    <a:cubicBezTo>
                      <a:pt x="0" y="13144"/>
                      <a:pt x="3810" y="17050"/>
                      <a:pt x="8573" y="17050"/>
                    </a:cubicBezTo>
                    <a:cubicBezTo>
                      <a:pt x="13335" y="17050"/>
                      <a:pt x="17050" y="13240"/>
                      <a:pt x="17050" y="8477"/>
                    </a:cubicBezTo>
                    <a:cubicBezTo>
                      <a:pt x="17050" y="3715"/>
                      <a:pt x="13240" y="0"/>
                      <a:pt x="8573" y="0"/>
                    </a:cubicBezTo>
                    <a:moveTo>
                      <a:pt x="8573" y="15811"/>
                    </a:moveTo>
                    <a:cubicBezTo>
                      <a:pt x="4572" y="15811"/>
                      <a:pt x="1334" y="12573"/>
                      <a:pt x="1334" y="8573"/>
                    </a:cubicBezTo>
                    <a:cubicBezTo>
                      <a:pt x="1334" y="4572"/>
                      <a:pt x="4572" y="1333"/>
                      <a:pt x="8573" y="1333"/>
                    </a:cubicBezTo>
                    <a:cubicBezTo>
                      <a:pt x="12573" y="1333"/>
                      <a:pt x="15811" y="4572"/>
                      <a:pt x="15811" y="8573"/>
                    </a:cubicBezTo>
                    <a:cubicBezTo>
                      <a:pt x="15811" y="12573"/>
                      <a:pt x="12573" y="15811"/>
                      <a:pt x="8573" y="15811"/>
                    </a:cubicBezTo>
                  </a:path>
                </a:pathLst>
              </a:custGeom>
              <a:solidFill>
                <a:srgbClr val="1E2B5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48" name="Freihandform: Form 476">
                <a:extLst>
                  <a:ext uri="{FF2B5EF4-FFF2-40B4-BE49-F238E27FC236}">
                    <a16:creationId xmlns:a16="http://schemas.microsoft.com/office/drawing/2014/main" id="{91432E13-5511-CB7F-3179-BEEBB126EEFA}"/>
                  </a:ext>
                </a:extLst>
              </p:cNvPr>
              <p:cNvSpPr/>
              <p:nvPr/>
            </p:nvSpPr>
            <p:spPr>
              <a:xfrm>
                <a:off x="299839" y="6629365"/>
                <a:ext cx="7619" cy="9620"/>
              </a:xfrm>
              <a:custGeom>
                <a:avLst/>
                <a:gdLst>
                  <a:gd name="connsiteX0" fmla="*/ 7620 w 7619"/>
                  <a:gd name="connsiteY0" fmla="*/ 2667 h 9620"/>
                  <a:gd name="connsiteX1" fmla="*/ 6477 w 7619"/>
                  <a:gd name="connsiteY1" fmla="*/ 571 h 9620"/>
                  <a:gd name="connsiteX2" fmla="*/ 4191 w 7619"/>
                  <a:gd name="connsiteY2" fmla="*/ 0 h 9620"/>
                  <a:gd name="connsiteX3" fmla="*/ 0 w 7619"/>
                  <a:gd name="connsiteY3" fmla="*/ 0 h 9620"/>
                  <a:gd name="connsiteX4" fmla="*/ 0 w 7619"/>
                  <a:gd name="connsiteY4" fmla="*/ 9620 h 9620"/>
                  <a:gd name="connsiteX5" fmla="*/ 1238 w 7619"/>
                  <a:gd name="connsiteY5" fmla="*/ 9620 h 9620"/>
                  <a:gd name="connsiteX6" fmla="*/ 1238 w 7619"/>
                  <a:gd name="connsiteY6" fmla="*/ 5239 h 9620"/>
                  <a:gd name="connsiteX7" fmla="*/ 3334 w 7619"/>
                  <a:gd name="connsiteY7" fmla="*/ 5239 h 9620"/>
                  <a:gd name="connsiteX8" fmla="*/ 6001 w 7619"/>
                  <a:gd name="connsiteY8" fmla="*/ 9620 h 9620"/>
                  <a:gd name="connsiteX9" fmla="*/ 7429 w 7619"/>
                  <a:gd name="connsiteY9" fmla="*/ 9620 h 9620"/>
                  <a:gd name="connsiteX10" fmla="*/ 4572 w 7619"/>
                  <a:gd name="connsiteY10" fmla="*/ 5239 h 9620"/>
                  <a:gd name="connsiteX11" fmla="*/ 7620 w 7619"/>
                  <a:gd name="connsiteY11" fmla="*/ 2667 h 9620"/>
                  <a:gd name="connsiteX12" fmla="*/ 3048 w 7619"/>
                  <a:gd name="connsiteY12" fmla="*/ 4381 h 9620"/>
                  <a:gd name="connsiteX13" fmla="*/ 1333 w 7619"/>
                  <a:gd name="connsiteY13" fmla="*/ 4381 h 9620"/>
                  <a:gd name="connsiteX14" fmla="*/ 1333 w 7619"/>
                  <a:gd name="connsiteY14" fmla="*/ 1048 h 9620"/>
                  <a:gd name="connsiteX15" fmla="*/ 4000 w 7619"/>
                  <a:gd name="connsiteY15" fmla="*/ 1048 h 9620"/>
                  <a:gd name="connsiteX16" fmla="*/ 6477 w 7619"/>
                  <a:gd name="connsiteY16" fmla="*/ 2667 h 9620"/>
                  <a:gd name="connsiteX17" fmla="*/ 3048 w 7619"/>
                  <a:gd name="connsiteY17" fmla="*/ 4381 h 9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619" h="9620">
                    <a:moveTo>
                      <a:pt x="7620" y="2667"/>
                    </a:moveTo>
                    <a:cubicBezTo>
                      <a:pt x="7620" y="1905"/>
                      <a:pt x="7239" y="1048"/>
                      <a:pt x="6477" y="571"/>
                    </a:cubicBezTo>
                    <a:cubicBezTo>
                      <a:pt x="5715" y="0"/>
                      <a:pt x="4953" y="0"/>
                      <a:pt x="4191" y="0"/>
                    </a:cubicBezTo>
                    <a:lnTo>
                      <a:pt x="0" y="0"/>
                    </a:lnTo>
                    <a:lnTo>
                      <a:pt x="0" y="9620"/>
                    </a:lnTo>
                    <a:lnTo>
                      <a:pt x="1238" y="9620"/>
                    </a:lnTo>
                    <a:lnTo>
                      <a:pt x="1238" y="5239"/>
                    </a:lnTo>
                    <a:lnTo>
                      <a:pt x="3334" y="5239"/>
                    </a:lnTo>
                    <a:lnTo>
                      <a:pt x="6001" y="9620"/>
                    </a:lnTo>
                    <a:lnTo>
                      <a:pt x="7429" y="9620"/>
                    </a:lnTo>
                    <a:lnTo>
                      <a:pt x="4572" y="5239"/>
                    </a:lnTo>
                    <a:cubicBezTo>
                      <a:pt x="6191" y="5239"/>
                      <a:pt x="7620" y="4477"/>
                      <a:pt x="7620" y="2667"/>
                    </a:cubicBezTo>
                    <a:moveTo>
                      <a:pt x="3048" y="4381"/>
                    </a:moveTo>
                    <a:lnTo>
                      <a:pt x="1333" y="4381"/>
                    </a:lnTo>
                    <a:lnTo>
                      <a:pt x="1333" y="1048"/>
                    </a:lnTo>
                    <a:lnTo>
                      <a:pt x="4000" y="1048"/>
                    </a:lnTo>
                    <a:cubicBezTo>
                      <a:pt x="5144" y="1048"/>
                      <a:pt x="6477" y="1238"/>
                      <a:pt x="6477" y="2667"/>
                    </a:cubicBezTo>
                    <a:cubicBezTo>
                      <a:pt x="6477" y="4572"/>
                      <a:pt x="4381" y="4381"/>
                      <a:pt x="3048" y="4381"/>
                    </a:cubicBezTo>
                  </a:path>
                </a:pathLst>
              </a:custGeom>
              <a:solidFill>
                <a:srgbClr val="1E2B5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49" name="Freihandform: Form 477">
                <a:extLst>
                  <a:ext uri="{FF2B5EF4-FFF2-40B4-BE49-F238E27FC236}">
                    <a16:creationId xmlns:a16="http://schemas.microsoft.com/office/drawing/2014/main" id="{17EE8CE3-CE63-FF31-43BA-4A7F4B01AA14}"/>
                  </a:ext>
                </a:extLst>
              </p:cNvPr>
              <p:cNvSpPr/>
              <p:nvPr/>
            </p:nvSpPr>
            <p:spPr>
              <a:xfrm>
                <a:off x="-238703" y="6599933"/>
                <a:ext cx="531971" cy="163353"/>
              </a:xfrm>
              <a:custGeom>
                <a:avLst/>
                <a:gdLst>
                  <a:gd name="connsiteX0" fmla="*/ 47816 w 531971"/>
                  <a:gd name="connsiteY0" fmla="*/ 10477 h 163353"/>
                  <a:gd name="connsiteX1" fmla="*/ 85058 w 531971"/>
                  <a:gd name="connsiteY1" fmla="*/ 122111 h 163353"/>
                  <a:gd name="connsiteX2" fmla="*/ 62770 w 531971"/>
                  <a:gd name="connsiteY2" fmla="*/ 122111 h 163353"/>
                  <a:gd name="connsiteX3" fmla="*/ 53340 w 531971"/>
                  <a:gd name="connsiteY3" fmla="*/ 88582 h 163353"/>
                  <a:gd name="connsiteX4" fmla="*/ 53340 w 531971"/>
                  <a:gd name="connsiteY4" fmla="*/ 88297 h 163353"/>
                  <a:gd name="connsiteX5" fmla="*/ 21431 w 531971"/>
                  <a:gd name="connsiteY5" fmla="*/ 88297 h 163353"/>
                  <a:gd name="connsiteX6" fmla="*/ 21431 w 531971"/>
                  <a:gd name="connsiteY6" fmla="*/ 88582 h 163353"/>
                  <a:gd name="connsiteX7" fmla="*/ 12002 w 531971"/>
                  <a:gd name="connsiteY7" fmla="*/ 121825 h 163353"/>
                  <a:gd name="connsiteX8" fmla="*/ 0 w 531971"/>
                  <a:gd name="connsiteY8" fmla="*/ 121825 h 163353"/>
                  <a:gd name="connsiteX9" fmla="*/ 38100 w 531971"/>
                  <a:gd name="connsiteY9" fmla="*/ 10477 h 163353"/>
                  <a:gd name="connsiteX10" fmla="*/ 47720 w 531971"/>
                  <a:gd name="connsiteY10" fmla="*/ 10477 h 163353"/>
                  <a:gd name="connsiteX11" fmla="*/ 24765 w 531971"/>
                  <a:gd name="connsiteY11" fmla="*/ 79248 h 163353"/>
                  <a:gd name="connsiteX12" fmla="*/ 50387 w 531971"/>
                  <a:gd name="connsiteY12" fmla="*/ 79248 h 163353"/>
                  <a:gd name="connsiteX13" fmla="*/ 50197 w 531971"/>
                  <a:gd name="connsiteY13" fmla="*/ 78772 h 163353"/>
                  <a:gd name="connsiteX14" fmla="*/ 38291 w 531971"/>
                  <a:gd name="connsiteY14" fmla="*/ 41053 h 163353"/>
                  <a:gd name="connsiteX15" fmla="*/ 37910 w 531971"/>
                  <a:gd name="connsiteY15" fmla="*/ 39910 h 163353"/>
                  <a:gd name="connsiteX16" fmla="*/ 37529 w 531971"/>
                  <a:gd name="connsiteY16" fmla="*/ 40957 h 163353"/>
                  <a:gd name="connsiteX17" fmla="*/ 24860 w 531971"/>
                  <a:gd name="connsiteY17" fmla="*/ 78676 h 163353"/>
                  <a:gd name="connsiteX18" fmla="*/ 24670 w 531971"/>
                  <a:gd name="connsiteY18" fmla="*/ 79153 h 163353"/>
                  <a:gd name="connsiteX19" fmla="*/ 24670 w 531971"/>
                  <a:gd name="connsiteY19" fmla="*/ 79153 h 163353"/>
                  <a:gd name="connsiteX20" fmla="*/ 109157 w 531971"/>
                  <a:gd name="connsiteY20" fmla="*/ 43053 h 163353"/>
                  <a:gd name="connsiteX21" fmla="*/ 128111 w 531971"/>
                  <a:gd name="connsiteY21" fmla="*/ 58483 h 163353"/>
                  <a:gd name="connsiteX22" fmla="*/ 128873 w 531971"/>
                  <a:gd name="connsiteY22" fmla="*/ 58483 h 163353"/>
                  <a:gd name="connsiteX23" fmla="*/ 128873 w 531971"/>
                  <a:gd name="connsiteY23" fmla="*/ 44482 h 163353"/>
                  <a:gd name="connsiteX24" fmla="*/ 146018 w 531971"/>
                  <a:gd name="connsiteY24" fmla="*/ 44482 h 163353"/>
                  <a:gd name="connsiteX25" fmla="*/ 146018 w 531971"/>
                  <a:gd name="connsiteY25" fmla="*/ 163259 h 163353"/>
                  <a:gd name="connsiteX26" fmla="*/ 128207 w 531971"/>
                  <a:gd name="connsiteY26" fmla="*/ 163259 h 163353"/>
                  <a:gd name="connsiteX27" fmla="*/ 128207 w 531971"/>
                  <a:gd name="connsiteY27" fmla="*/ 112395 h 163353"/>
                  <a:gd name="connsiteX28" fmla="*/ 127540 w 531971"/>
                  <a:gd name="connsiteY28" fmla="*/ 112204 h 163353"/>
                  <a:gd name="connsiteX29" fmla="*/ 110585 w 531971"/>
                  <a:gd name="connsiteY29" fmla="*/ 123634 h 163353"/>
                  <a:gd name="connsiteX30" fmla="*/ 84106 w 531971"/>
                  <a:gd name="connsiteY30" fmla="*/ 84201 h 163353"/>
                  <a:gd name="connsiteX31" fmla="*/ 109252 w 531971"/>
                  <a:gd name="connsiteY31" fmla="*/ 43053 h 163353"/>
                  <a:gd name="connsiteX32" fmla="*/ 116110 w 531971"/>
                  <a:gd name="connsiteY32" fmla="*/ 113919 h 163353"/>
                  <a:gd name="connsiteX33" fmla="*/ 128683 w 531971"/>
                  <a:gd name="connsiteY33" fmla="*/ 84963 h 163353"/>
                  <a:gd name="connsiteX34" fmla="*/ 115253 w 531971"/>
                  <a:gd name="connsiteY34" fmla="*/ 52864 h 163353"/>
                  <a:gd name="connsiteX35" fmla="*/ 103156 w 531971"/>
                  <a:gd name="connsiteY35" fmla="*/ 82486 h 163353"/>
                  <a:gd name="connsiteX36" fmla="*/ 103727 w 531971"/>
                  <a:gd name="connsiteY36" fmla="*/ 93821 h 163353"/>
                  <a:gd name="connsiteX37" fmla="*/ 116015 w 531971"/>
                  <a:gd name="connsiteY37" fmla="*/ 113919 h 163353"/>
                  <a:gd name="connsiteX38" fmla="*/ 215170 w 531971"/>
                  <a:gd name="connsiteY38" fmla="*/ 44482 h 163353"/>
                  <a:gd name="connsiteX39" fmla="*/ 215170 w 531971"/>
                  <a:gd name="connsiteY39" fmla="*/ 122206 h 163353"/>
                  <a:gd name="connsiteX40" fmla="*/ 198120 w 531971"/>
                  <a:gd name="connsiteY40" fmla="*/ 122206 h 163353"/>
                  <a:gd name="connsiteX41" fmla="*/ 198120 w 531971"/>
                  <a:gd name="connsiteY41" fmla="*/ 109728 h 163353"/>
                  <a:gd name="connsiteX42" fmla="*/ 197453 w 531971"/>
                  <a:gd name="connsiteY42" fmla="*/ 110585 h 163353"/>
                  <a:gd name="connsiteX43" fmla="*/ 177356 w 531971"/>
                  <a:gd name="connsiteY43" fmla="*/ 123730 h 163353"/>
                  <a:gd name="connsiteX44" fmla="*/ 159734 w 531971"/>
                  <a:gd name="connsiteY44" fmla="*/ 113919 h 163353"/>
                  <a:gd name="connsiteX45" fmla="*/ 156305 w 531971"/>
                  <a:gd name="connsiteY45" fmla="*/ 92011 h 163353"/>
                  <a:gd name="connsiteX46" fmla="*/ 156305 w 531971"/>
                  <a:gd name="connsiteY46" fmla="*/ 44577 h 163353"/>
                  <a:gd name="connsiteX47" fmla="*/ 174117 w 531971"/>
                  <a:gd name="connsiteY47" fmla="*/ 44577 h 163353"/>
                  <a:gd name="connsiteX48" fmla="*/ 174117 w 531971"/>
                  <a:gd name="connsiteY48" fmla="*/ 88868 h 163353"/>
                  <a:gd name="connsiteX49" fmla="*/ 175641 w 531971"/>
                  <a:gd name="connsiteY49" fmla="*/ 102394 h 163353"/>
                  <a:gd name="connsiteX50" fmla="*/ 185547 w 531971"/>
                  <a:gd name="connsiteY50" fmla="*/ 111061 h 163353"/>
                  <a:gd name="connsiteX51" fmla="*/ 197644 w 531971"/>
                  <a:gd name="connsiteY51" fmla="*/ 86392 h 163353"/>
                  <a:gd name="connsiteX52" fmla="*/ 197644 w 531971"/>
                  <a:gd name="connsiteY52" fmla="*/ 44577 h 163353"/>
                  <a:gd name="connsiteX53" fmla="*/ 215456 w 531971"/>
                  <a:gd name="connsiteY53" fmla="*/ 44577 h 163353"/>
                  <a:gd name="connsiteX54" fmla="*/ 251746 w 531971"/>
                  <a:gd name="connsiteY54" fmla="*/ 43053 h 163353"/>
                  <a:gd name="connsiteX55" fmla="*/ 268510 w 531971"/>
                  <a:gd name="connsiteY55" fmla="*/ 47720 h 163353"/>
                  <a:gd name="connsiteX56" fmla="*/ 276892 w 531971"/>
                  <a:gd name="connsiteY56" fmla="*/ 64294 h 163353"/>
                  <a:gd name="connsiteX57" fmla="*/ 276892 w 531971"/>
                  <a:gd name="connsiteY57" fmla="*/ 123634 h 163353"/>
                  <a:gd name="connsiteX58" fmla="*/ 259080 w 531971"/>
                  <a:gd name="connsiteY58" fmla="*/ 123634 h 163353"/>
                  <a:gd name="connsiteX59" fmla="*/ 259080 w 531971"/>
                  <a:gd name="connsiteY59" fmla="*/ 112204 h 163353"/>
                  <a:gd name="connsiteX60" fmla="*/ 258318 w 531971"/>
                  <a:gd name="connsiteY60" fmla="*/ 112014 h 163353"/>
                  <a:gd name="connsiteX61" fmla="*/ 241459 w 531971"/>
                  <a:gd name="connsiteY61" fmla="*/ 123634 h 163353"/>
                  <a:gd name="connsiteX62" fmla="*/ 222599 w 531971"/>
                  <a:gd name="connsiteY62" fmla="*/ 102679 h 163353"/>
                  <a:gd name="connsiteX63" fmla="*/ 246888 w 531971"/>
                  <a:gd name="connsiteY63" fmla="*/ 78295 h 163353"/>
                  <a:gd name="connsiteX64" fmla="*/ 247079 w 531971"/>
                  <a:gd name="connsiteY64" fmla="*/ 78295 h 163353"/>
                  <a:gd name="connsiteX65" fmla="*/ 256889 w 531971"/>
                  <a:gd name="connsiteY65" fmla="*/ 74009 h 163353"/>
                  <a:gd name="connsiteX66" fmla="*/ 258985 w 531971"/>
                  <a:gd name="connsiteY66" fmla="*/ 67437 h 163353"/>
                  <a:gd name="connsiteX67" fmla="*/ 245840 w 531971"/>
                  <a:gd name="connsiteY67" fmla="*/ 52864 h 163353"/>
                  <a:gd name="connsiteX68" fmla="*/ 227171 w 531971"/>
                  <a:gd name="connsiteY68" fmla="*/ 61627 h 163353"/>
                  <a:gd name="connsiteX69" fmla="*/ 227171 w 531971"/>
                  <a:gd name="connsiteY69" fmla="*/ 53626 h 163353"/>
                  <a:gd name="connsiteX70" fmla="*/ 251650 w 531971"/>
                  <a:gd name="connsiteY70" fmla="*/ 43053 h 163353"/>
                  <a:gd name="connsiteX71" fmla="*/ 248412 w 531971"/>
                  <a:gd name="connsiteY71" fmla="*/ 113919 h 163353"/>
                  <a:gd name="connsiteX72" fmla="*/ 258985 w 531971"/>
                  <a:gd name="connsiteY72" fmla="*/ 95917 h 163353"/>
                  <a:gd name="connsiteX73" fmla="*/ 258985 w 531971"/>
                  <a:gd name="connsiteY73" fmla="*/ 79629 h 163353"/>
                  <a:gd name="connsiteX74" fmla="*/ 258413 w 531971"/>
                  <a:gd name="connsiteY74" fmla="*/ 79915 h 163353"/>
                  <a:gd name="connsiteX75" fmla="*/ 254699 w 531971"/>
                  <a:gd name="connsiteY75" fmla="*/ 81534 h 163353"/>
                  <a:gd name="connsiteX76" fmla="*/ 244983 w 531971"/>
                  <a:gd name="connsiteY76" fmla="*/ 86963 h 163353"/>
                  <a:gd name="connsiteX77" fmla="*/ 240602 w 531971"/>
                  <a:gd name="connsiteY77" fmla="*/ 100679 h 163353"/>
                  <a:gd name="connsiteX78" fmla="*/ 248412 w 531971"/>
                  <a:gd name="connsiteY78" fmla="*/ 114014 h 163353"/>
                  <a:gd name="connsiteX79" fmla="*/ 321945 w 531971"/>
                  <a:gd name="connsiteY79" fmla="*/ 43148 h 163353"/>
                  <a:gd name="connsiteX80" fmla="*/ 342043 w 531971"/>
                  <a:gd name="connsiteY80" fmla="*/ 54864 h 163353"/>
                  <a:gd name="connsiteX81" fmla="*/ 347948 w 531971"/>
                  <a:gd name="connsiteY81" fmla="*/ 82010 h 163353"/>
                  <a:gd name="connsiteX82" fmla="*/ 321469 w 531971"/>
                  <a:gd name="connsiteY82" fmla="*/ 123730 h 163353"/>
                  <a:gd name="connsiteX83" fmla="*/ 304514 w 531971"/>
                  <a:gd name="connsiteY83" fmla="*/ 112300 h 163353"/>
                  <a:gd name="connsiteX84" fmla="*/ 303848 w 531971"/>
                  <a:gd name="connsiteY84" fmla="*/ 112490 h 163353"/>
                  <a:gd name="connsiteX85" fmla="*/ 303848 w 531971"/>
                  <a:gd name="connsiteY85" fmla="*/ 163354 h 163353"/>
                  <a:gd name="connsiteX86" fmla="*/ 286036 w 531971"/>
                  <a:gd name="connsiteY86" fmla="*/ 163354 h 163353"/>
                  <a:gd name="connsiteX87" fmla="*/ 286036 w 531971"/>
                  <a:gd name="connsiteY87" fmla="*/ 44577 h 163353"/>
                  <a:gd name="connsiteX88" fmla="*/ 303181 w 531971"/>
                  <a:gd name="connsiteY88" fmla="*/ 44577 h 163353"/>
                  <a:gd name="connsiteX89" fmla="*/ 303181 w 531971"/>
                  <a:gd name="connsiteY89" fmla="*/ 58388 h 163353"/>
                  <a:gd name="connsiteX90" fmla="*/ 303943 w 531971"/>
                  <a:gd name="connsiteY90" fmla="*/ 58388 h 163353"/>
                  <a:gd name="connsiteX91" fmla="*/ 321945 w 531971"/>
                  <a:gd name="connsiteY91" fmla="*/ 43053 h 163353"/>
                  <a:gd name="connsiteX92" fmla="*/ 316040 w 531971"/>
                  <a:gd name="connsiteY92" fmla="*/ 113919 h 163353"/>
                  <a:gd name="connsiteX93" fmla="*/ 316040 w 531971"/>
                  <a:gd name="connsiteY93" fmla="*/ 113919 h 163353"/>
                  <a:gd name="connsiteX94" fmla="*/ 328803 w 531971"/>
                  <a:gd name="connsiteY94" fmla="*/ 83820 h 163353"/>
                  <a:gd name="connsiteX95" fmla="*/ 316706 w 531971"/>
                  <a:gd name="connsiteY95" fmla="*/ 52864 h 163353"/>
                  <a:gd name="connsiteX96" fmla="*/ 303276 w 531971"/>
                  <a:gd name="connsiteY96" fmla="*/ 84582 h 163353"/>
                  <a:gd name="connsiteX97" fmla="*/ 315849 w 531971"/>
                  <a:gd name="connsiteY97" fmla="*/ 113919 h 163353"/>
                  <a:gd name="connsiteX98" fmla="*/ 372809 w 531971"/>
                  <a:gd name="connsiteY98" fmla="*/ 0 h 163353"/>
                  <a:gd name="connsiteX99" fmla="*/ 372809 w 531971"/>
                  <a:gd name="connsiteY99" fmla="*/ 56388 h 163353"/>
                  <a:gd name="connsiteX100" fmla="*/ 373475 w 531971"/>
                  <a:gd name="connsiteY100" fmla="*/ 55435 h 163353"/>
                  <a:gd name="connsiteX101" fmla="*/ 393002 w 531971"/>
                  <a:gd name="connsiteY101" fmla="*/ 42958 h 163353"/>
                  <a:gd name="connsiteX102" fmla="*/ 408432 w 531971"/>
                  <a:gd name="connsiteY102" fmla="*/ 50292 h 163353"/>
                  <a:gd name="connsiteX103" fmla="*/ 413956 w 531971"/>
                  <a:gd name="connsiteY103" fmla="*/ 70580 h 163353"/>
                  <a:gd name="connsiteX104" fmla="*/ 413956 w 531971"/>
                  <a:gd name="connsiteY104" fmla="*/ 122111 h 163353"/>
                  <a:gd name="connsiteX105" fmla="*/ 396145 w 531971"/>
                  <a:gd name="connsiteY105" fmla="*/ 122111 h 163353"/>
                  <a:gd name="connsiteX106" fmla="*/ 396145 w 531971"/>
                  <a:gd name="connsiteY106" fmla="*/ 82201 h 163353"/>
                  <a:gd name="connsiteX107" fmla="*/ 384715 w 531971"/>
                  <a:gd name="connsiteY107" fmla="*/ 55817 h 163353"/>
                  <a:gd name="connsiteX108" fmla="*/ 377857 w 531971"/>
                  <a:gd name="connsiteY108" fmla="*/ 58579 h 163353"/>
                  <a:gd name="connsiteX109" fmla="*/ 372618 w 531971"/>
                  <a:gd name="connsiteY109" fmla="*/ 83820 h 163353"/>
                  <a:gd name="connsiteX110" fmla="*/ 372618 w 531971"/>
                  <a:gd name="connsiteY110" fmla="*/ 122206 h 163353"/>
                  <a:gd name="connsiteX111" fmla="*/ 354806 w 531971"/>
                  <a:gd name="connsiteY111" fmla="*/ 122206 h 163353"/>
                  <a:gd name="connsiteX112" fmla="*/ 354806 w 531971"/>
                  <a:gd name="connsiteY112" fmla="*/ 0 h 163353"/>
                  <a:gd name="connsiteX113" fmla="*/ 372618 w 531971"/>
                  <a:gd name="connsiteY113" fmla="*/ 0 h 163353"/>
                  <a:gd name="connsiteX114" fmla="*/ 453104 w 531971"/>
                  <a:gd name="connsiteY114" fmla="*/ 43053 h 163353"/>
                  <a:gd name="connsiteX115" fmla="*/ 485775 w 531971"/>
                  <a:gd name="connsiteY115" fmla="*/ 81534 h 163353"/>
                  <a:gd name="connsiteX116" fmla="*/ 453009 w 531971"/>
                  <a:gd name="connsiteY116" fmla="*/ 123730 h 163353"/>
                  <a:gd name="connsiteX117" fmla="*/ 420815 w 531971"/>
                  <a:gd name="connsiteY117" fmla="*/ 85153 h 163353"/>
                  <a:gd name="connsiteX118" fmla="*/ 453200 w 531971"/>
                  <a:gd name="connsiteY118" fmla="*/ 43148 h 163353"/>
                  <a:gd name="connsiteX119" fmla="*/ 453009 w 531971"/>
                  <a:gd name="connsiteY119" fmla="*/ 117253 h 163353"/>
                  <a:gd name="connsiteX120" fmla="*/ 453009 w 531971"/>
                  <a:gd name="connsiteY120" fmla="*/ 117253 h 163353"/>
                  <a:gd name="connsiteX121" fmla="*/ 466630 w 531971"/>
                  <a:gd name="connsiteY121" fmla="*/ 79057 h 163353"/>
                  <a:gd name="connsiteX122" fmla="*/ 453866 w 531971"/>
                  <a:gd name="connsiteY122" fmla="*/ 49720 h 163353"/>
                  <a:gd name="connsiteX123" fmla="*/ 439769 w 531971"/>
                  <a:gd name="connsiteY123" fmla="*/ 84677 h 163353"/>
                  <a:gd name="connsiteX124" fmla="*/ 452914 w 531971"/>
                  <a:gd name="connsiteY124" fmla="*/ 117253 h 163353"/>
                  <a:gd name="connsiteX125" fmla="*/ 531971 w 531971"/>
                  <a:gd name="connsiteY125" fmla="*/ 43148 h 163353"/>
                  <a:gd name="connsiteX126" fmla="*/ 531971 w 531971"/>
                  <a:gd name="connsiteY126" fmla="*/ 65627 h 163353"/>
                  <a:gd name="connsiteX127" fmla="*/ 525399 w 531971"/>
                  <a:gd name="connsiteY127" fmla="*/ 63436 h 163353"/>
                  <a:gd name="connsiteX128" fmla="*/ 523589 w 531971"/>
                  <a:gd name="connsiteY128" fmla="*/ 63532 h 163353"/>
                  <a:gd name="connsiteX129" fmla="*/ 510921 w 531971"/>
                  <a:gd name="connsiteY129" fmla="*/ 74486 h 163353"/>
                  <a:gd name="connsiteX130" fmla="*/ 510064 w 531971"/>
                  <a:gd name="connsiteY130" fmla="*/ 90106 h 163353"/>
                  <a:gd name="connsiteX131" fmla="*/ 510064 w 531971"/>
                  <a:gd name="connsiteY131" fmla="*/ 122206 h 163353"/>
                  <a:gd name="connsiteX132" fmla="*/ 492252 w 531971"/>
                  <a:gd name="connsiteY132" fmla="*/ 122206 h 163353"/>
                  <a:gd name="connsiteX133" fmla="*/ 492252 w 531971"/>
                  <a:gd name="connsiteY133" fmla="*/ 44482 h 163353"/>
                  <a:gd name="connsiteX134" fmla="*/ 510064 w 531971"/>
                  <a:gd name="connsiteY134" fmla="*/ 44482 h 163353"/>
                  <a:gd name="connsiteX135" fmla="*/ 510064 w 531971"/>
                  <a:gd name="connsiteY135" fmla="*/ 64198 h 163353"/>
                  <a:gd name="connsiteX136" fmla="*/ 510826 w 531971"/>
                  <a:gd name="connsiteY136" fmla="*/ 64198 h 163353"/>
                  <a:gd name="connsiteX137" fmla="*/ 531971 w 531971"/>
                  <a:gd name="connsiteY137" fmla="*/ 43053 h 163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</a:cxnLst>
                <a:rect l="l" t="t" r="r" b="b"/>
                <a:pathLst>
                  <a:path w="531971" h="163353">
                    <a:moveTo>
                      <a:pt x="47816" y="10477"/>
                    </a:moveTo>
                    <a:lnTo>
                      <a:pt x="85058" y="122111"/>
                    </a:lnTo>
                    <a:lnTo>
                      <a:pt x="62770" y="122111"/>
                    </a:lnTo>
                    <a:cubicBezTo>
                      <a:pt x="62103" y="119444"/>
                      <a:pt x="56674" y="98679"/>
                      <a:pt x="53340" y="88582"/>
                    </a:cubicBezTo>
                    <a:lnTo>
                      <a:pt x="53340" y="88297"/>
                    </a:lnTo>
                    <a:lnTo>
                      <a:pt x="21431" y="88297"/>
                    </a:lnTo>
                    <a:lnTo>
                      <a:pt x="21431" y="88582"/>
                    </a:lnTo>
                    <a:cubicBezTo>
                      <a:pt x="18098" y="100013"/>
                      <a:pt x="12764" y="119253"/>
                      <a:pt x="12002" y="121825"/>
                    </a:cubicBezTo>
                    <a:lnTo>
                      <a:pt x="0" y="121825"/>
                    </a:lnTo>
                    <a:lnTo>
                      <a:pt x="38100" y="10477"/>
                    </a:lnTo>
                    <a:lnTo>
                      <a:pt x="47720" y="10477"/>
                    </a:lnTo>
                    <a:close/>
                    <a:moveTo>
                      <a:pt x="24765" y="79248"/>
                    </a:moveTo>
                    <a:lnTo>
                      <a:pt x="50387" y="79248"/>
                    </a:lnTo>
                    <a:lnTo>
                      <a:pt x="50197" y="78772"/>
                    </a:lnTo>
                    <a:lnTo>
                      <a:pt x="38291" y="41053"/>
                    </a:lnTo>
                    <a:lnTo>
                      <a:pt x="37910" y="39910"/>
                    </a:lnTo>
                    <a:lnTo>
                      <a:pt x="37529" y="40957"/>
                    </a:lnTo>
                    <a:lnTo>
                      <a:pt x="24860" y="78676"/>
                    </a:lnTo>
                    <a:lnTo>
                      <a:pt x="24670" y="79153"/>
                    </a:lnTo>
                    <a:lnTo>
                      <a:pt x="24670" y="79153"/>
                    </a:lnTo>
                    <a:close/>
                    <a:moveTo>
                      <a:pt x="109157" y="43053"/>
                    </a:moveTo>
                    <a:cubicBezTo>
                      <a:pt x="118586" y="43053"/>
                      <a:pt x="124492" y="47815"/>
                      <a:pt x="128111" y="58483"/>
                    </a:cubicBezTo>
                    <a:lnTo>
                      <a:pt x="128873" y="58483"/>
                    </a:lnTo>
                    <a:lnTo>
                      <a:pt x="128873" y="44482"/>
                    </a:lnTo>
                    <a:lnTo>
                      <a:pt x="146018" y="44482"/>
                    </a:lnTo>
                    <a:lnTo>
                      <a:pt x="146018" y="163259"/>
                    </a:lnTo>
                    <a:lnTo>
                      <a:pt x="128207" y="163259"/>
                    </a:lnTo>
                    <a:lnTo>
                      <a:pt x="128207" y="112395"/>
                    </a:lnTo>
                    <a:lnTo>
                      <a:pt x="127540" y="112204"/>
                    </a:lnTo>
                    <a:cubicBezTo>
                      <a:pt x="125825" y="115633"/>
                      <a:pt x="120682" y="123634"/>
                      <a:pt x="110585" y="123634"/>
                    </a:cubicBezTo>
                    <a:cubicBezTo>
                      <a:pt x="94488" y="123634"/>
                      <a:pt x="84106" y="108204"/>
                      <a:pt x="84106" y="84201"/>
                    </a:cubicBezTo>
                    <a:cubicBezTo>
                      <a:pt x="84106" y="57626"/>
                      <a:pt x="93059" y="43053"/>
                      <a:pt x="109252" y="43053"/>
                    </a:cubicBezTo>
                    <a:moveTo>
                      <a:pt x="116110" y="113919"/>
                    </a:moveTo>
                    <a:cubicBezTo>
                      <a:pt x="124397" y="113919"/>
                      <a:pt x="128683" y="103918"/>
                      <a:pt x="128683" y="84963"/>
                    </a:cubicBezTo>
                    <a:cubicBezTo>
                      <a:pt x="128683" y="70294"/>
                      <a:pt x="126397" y="52864"/>
                      <a:pt x="115253" y="52864"/>
                    </a:cubicBezTo>
                    <a:cubicBezTo>
                      <a:pt x="107252" y="52864"/>
                      <a:pt x="103156" y="62865"/>
                      <a:pt x="103156" y="82486"/>
                    </a:cubicBezTo>
                    <a:cubicBezTo>
                      <a:pt x="103156" y="86296"/>
                      <a:pt x="103442" y="90297"/>
                      <a:pt x="103727" y="93821"/>
                    </a:cubicBezTo>
                    <a:cubicBezTo>
                      <a:pt x="104299" y="101917"/>
                      <a:pt x="108014" y="113919"/>
                      <a:pt x="116015" y="113919"/>
                    </a:cubicBezTo>
                    <a:moveTo>
                      <a:pt x="215170" y="44482"/>
                    </a:moveTo>
                    <a:lnTo>
                      <a:pt x="215170" y="122206"/>
                    </a:lnTo>
                    <a:lnTo>
                      <a:pt x="198120" y="122206"/>
                    </a:lnTo>
                    <a:lnTo>
                      <a:pt x="198120" y="109728"/>
                    </a:lnTo>
                    <a:lnTo>
                      <a:pt x="197453" y="110585"/>
                    </a:lnTo>
                    <a:cubicBezTo>
                      <a:pt x="191072" y="118777"/>
                      <a:pt x="186500" y="123730"/>
                      <a:pt x="177356" y="123730"/>
                    </a:cubicBezTo>
                    <a:cubicBezTo>
                      <a:pt x="169831" y="123730"/>
                      <a:pt x="163259" y="120015"/>
                      <a:pt x="159734" y="113919"/>
                    </a:cubicBezTo>
                    <a:cubicBezTo>
                      <a:pt x="156115" y="107918"/>
                      <a:pt x="156210" y="99441"/>
                      <a:pt x="156305" y="92011"/>
                    </a:cubicBezTo>
                    <a:cubicBezTo>
                      <a:pt x="156305" y="90964"/>
                      <a:pt x="156305" y="44577"/>
                      <a:pt x="156305" y="44577"/>
                    </a:cubicBezTo>
                    <a:lnTo>
                      <a:pt x="174117" y="44577"/>
                    </a:lnTo>
                    <a:lnTo>
                      <a:pt x="174117" y="88868"/>
                    </a:lnTo>
                    <a:cubicBezTo>
                      <a:pt x="174117" y="95440"/>
                      <a:pt x="174593" y="99917"/>
                      <a:pt x="175641" y="102394"/>
                    </a:cubicBezTo>
                    <a:cubicBezTo>
                      <a:pt x="177641" y="108109"/>
                      <a:pt x="181070" y="111061"/>
                      <a:pt x="185547" y="111061"/>
                    </a:cubicBezTo>
                    <a:cubicBezTo>
                      <a:pt x="197644" y="111061"/>
                      <a:pt x="197644" y="96774"/>
                      <a:pt x="197644" y="86392"/>
                    </a:cubicBezTo>
                    <a:lnTo>
                      <a:pt x="197644" y="44577"/>
                    </a:lnTo>
                    <a:lnTo>
                      <a:pt x="215456" y="44577"/>
                    </a:lnTo>
                    <a:close/>
                    <a:moveTo>
                      <a:pt x="251746" y="43053"/>
                    </a:moveTo>
                    <a:cubicBezTo>
                      <a:pt x="258032" y="43053"/>
                      <a:pt x="264128" y="44767"/>
                      <a:pt x="268510" y="47720"/>
                    </a:cubicBezTo>
                    <a:cubicBezTo>
                      <a:pt x="274034" y="51530"/>
                      <a:pt x="276892" y="57055"/>
                      <a:pt x="276892" y="64294"/>
                    </a:cubicBezTo>
                    <a:lnTo>
                      <a:pt x="276892" y="123634"/>
                    </a:lnTo>
                    <a:lnTo>
                      <a:pt x="259080" y="123634"/>
                    </a:lnTo>
                    <a:lnTo>
                      <a:pt x="259080" y="112204"/>
                    </a:lnTo>
                    <a:lnTo>
                      <a:pt x="258318" y="112014"/>
                    </a:lnTo>
                    <a:cubicBezTo>
                      <a:pt x="254984" y="119158"/>
                      <a:pt x="248507" y="123634"/>
                      <a:pt x="241459" y="123634"/>
                    </a:cubicBezTo>
                    <a:cubicBezTo>
                      <a:pt x="229838" y="123634"/>
                      <a:pt x="222599" y="115633"/>
                      <a:pt x="222599" y="102679"/>
                    </a:cubicBezTo>
                    <a:cubicBezTo>
                      <a:pt x="222599" y="87725"/>
                      <a:pt x="229743" y="83248"/>
                      <a:pt x="246888" y="78295"/>
                    </a:cubicBezTo>
                    <a:lnTo>
                      <a:pt x="247079" y="78295"/>
                    </a:lnTo>
                    <a:cubicBezTo>
                      <a:pt x="250412" y="77248"/>
                      <a:pt x="253841" y="76295"/>
                      <a:pt x="256889" y="74009"/>
                    </a:cubicBezTo>
                    <a:cubicBezTo>
                      <a:pt x="258794" y="71914"/>
                      <a:pt x="258985" y="69532"/>
                      <a:pt x="258985" y="67437"/>
                    </a:cubicBezTo>
                    <a:cubicBezTo>
                      <a:pt x="258985" y="59150"/>
                      <a:pt x="253365" y="52864"/>
                      <a:pt x="245840" y="52864"/>
                    </a:cubicBezTo>
                    <a:cubicBezTo>
                      <a:pt x="236030" y="52864"/>
                      <a:pt x="229362" y="58293"/>
                      <a:pt x="227171" y="61627"/>
                    </a:cubicBezTo>
                    <a:lnTo>
                      <a:pt x="227171" y="53626"/>
                    </a:lnTo>
                    <a:cubicBezTo>
                      <a:pt x="232982" y="47149"/>
                      <a:pt x="242507" y="43053"/>
                      <a:pt x="251650" y="43053"/>
                    </a:cubicBezTo>
                    <a:moveTo>
                      <a:pt x="248412" y="113919"/>
                    </a:moveTo>
                    <a:cubicBezTo>
                      <a:pt x="254984" y="113919"/>
                      <a:pt x="258604" y="107823"/>
                      <a:pt x="258985" y="95917"/>
                    </a:cubicBezTo>
                    <a:lnTo>
                      <a:pt x="258985" y="79629"/>
                    </a:lnTo>
                    <a:lnTo>
                      <a:pt x="258413" y="79915"/>
                    </a:lnTo>
                    <a:cubicBezTo>
                      <a:pt x="257366" y="80486"/>
                      <a:pt x="256127" y="80963"/>
                      <a:pt x="254699" y="81534"/>
                    </a:cubicBezTo>
                    <a:cubicBezTo>
                      <a:pt x="251650" y="82772"/>
                      <a:pt x="247745" y="84296"/>
                      <a:pt x="244983" y="86963"/>
                    </a:cubicBezTo>
                    <a:cubicBezTo>
                      <a:pt x="241078" y="90773"/>
                      <a:pt x="240602" y="96298"/>
                      <a:pt x="240602" y="100679"/>
                    </a:cubicBezTo>
                    <a:cubicBezTo>
                      <a:pt x="240602" y="112681"/>
                      <a:pt x="246031" y="114014"/>
                      <a:pt x="248412" y="114014"/>
                    </a:cubicBezTo>
                    <a:moveTo>
                      <a:pt x="321945" y="43148"/>
                    </a:moveTo>
                    <a:cubicBezTo>
                      <a:pt x="330803" y="43148"/>
                      <a:pt x="337566" y="47149"/>
                      <a:pt x="342043" y="54864"/>
                    </a:cubicBezTo>
                    <a:cubicBezTo>
                      <a:pt x="345948" y="61531"/>
                      <a:pt x="347948" y="70961"/>
                      <a:pt x="347948" y="82010"/>
                    </a:cubicBezTo>
                    <a:cubicBezTo>
                      <a:pt x="347948" y="112776"/>
                      <a:pt x="333661" y="123730"/>
                      <a:pt x="321469" y="123730"/>
                    </a:cubicBezTo>
                    <a:cubicBezTo>
                      <a:pt x="314039" y="123730"/>
                      <a:pt x="308515" y="120015"/>
                      <a:pt x="304514" y="112300"/>
                    </a:cubicBezTo>
                    <a:lnTo>
                      <a:pt x="303848" y="112490"/>
                    </a:lnTo>
                    <a:lnTo>
                      <a:pt x="303848" y="163354"/>
                    </a:lnTo>
                    <a:lnTo>
                      <a:pt x="286036" y="163354"/>
                    </a:lnTo>
                    <a:lnTo>
                      <a:pt x="286036" y="44577"/>
                    </a:lnTo>
                    <a:lnTo>
                      <a:pt x="303181" y="44577"/>
                    </a:lnTo>
                    <a:lnTo>
                      <a:pt x="303181" y="58388"/>
                    </a:lnTo>
                    <a:lnTo>
                      <a:pt x="303943" y="58388"/>
                    </a:lnTo>
                    <a:cubicBezTo>
                      <a:pt x="307181" y="48577"/>
                      <a:pt x="313563" y="43053"/>
                      <a:pt x="321945" y="43053"/>
                    </a:cubicBezTo>
                    <a:moveTo>
                      <a:pt x="316040" y="113919"/>
                    </a:moveTo>
                    <a:lnTo>
                      <a:pt x="316040" y="113919"/>
                    </a:lnTo>
                    <a:cubicBezTo>
                      <a:pt x="324326" y="112871"/>
                      <a:pt x="328803" y="102108"/>
                      <a:pt x="328803" y="83820"/>
                    </a:cubicBezTo>
                    <a:cubicBezTo>
                      <a:pt x="328803" y="62674"/>
                      <a:pt x="324993" y="52864"/>
                      <a:pt x="316706" y="52864"/>
                    </a:cubicBezTo>
                    <a:cubicBezTo>
                      <a:pt x="305086" y="52864"/>
                      <a:pt x="303276" y="72771"/>
                      <a:pt x="303276" y="84582"/>
                    </a:cubicBezTo>
                    <a:cubicBezTo>
                      <a:pt x="303276" y="104013"/>
                      <a:pt x="307467" y="113919"/>
                      <a:pt x="315849" y="113919"/>
                    </a:cubicBezTo>
                    <a:moveTo>
                      <a:pt x="372809" y="0"/>
                    </a:moveTo>
                    <a:lnTo>
                      <a:pt x="372809" y="56388"/>
                    </a:lnTo>
                    <a:lnTo>
                      <a:pt x="373475" y="55435"/>
                    </a:lnTo>
                    <a:cubicBezTo>
                      <a:pt x="378143" y="49244"/>
                      <a:pt x="385953" y="42958"/>
                      <a:pt x="393002" y="42958"/>
                    </a:cubicBezTo>
                    <a:cubicBezTo>
                      <a:pt x="399288" y="42958"/>
                      <a:pt x="404146" y="45244"/>
                      <a:pt x="408432" y="50292"/>
                    </a:cubicBezTo>
                    <a:cubicBezTo>
                      <a:pt x="413576" y="56293"/>
                      <a:pt x="413956" y="63627"/>
                      <a:pt x="413956" y="70580"/>
                    </a:cubicBezTo>
                    <a:lnTo>
                      <a:pt x="413956" y="122111"/>
                    </a:lnTo>
                    <a:lnTo>
                      <a:pt x="396145" y="122111"/>
                    </a:lnTo>
                    <a:lnTo>
                      <a:pt x="396145" y="82201"/>
                    </a:lnTo>
                    <a:cubicBezTo>
                      <a:pt x="396145" y="66389"/>
                      <a:pt x="394240" y="55817"/>
                      <a:pt x="384715" y="55817"/>
                    </a:cubicBezTo>
                    <a:cubicBezTo>
                      <a:pt x="381953" y="55817"/>
                      <a:pt x="379667" y="56769"/>
                      <a:pt x="377857" y="58579"/>
                    </a:cubicBezTo>
                    <a:cubicBezTo>
                      <a:pt x="372618" y="63913"/>
                      <a:pt x="372618" y="75914"/>
                      <a:pt x="372618" y="83820"/>
                    </a:cubicBezTo>
                    <a:lnTo>
                      <a:pt x="372618" y="122206"/>
                    </a:lnTo>
                    <a:cubicBezTo>
                      <a:pt x="372618" y="122206"/>
                      <a:pt x="354806" y="122206"/>
                      <a:pt x="354806" y="122206"/>
                    </a:cubicBezTo>
                    <a:lnTo>
                      <a:pt x="354806" y="0"/>
                    </a:lnTo>
                    <a:lnTo>
                      <a:pt x="372618" y="0"/>
                    </a:lnTo>
                    <a:close/>
                    <a:moveTo>
                      <a:pt x="453104" y="43053"/>
                    </a:moveTo>
                    <a:cubicBezTo>
                      <a:pt x="473202" y="43053"/>
                      <a:pt x="485775" y="57817"/>
                      <a:pt x="485775" y="81534"/>
                    </a:cubicBezTo>
                    <a:cubicBezTo>
                      <a:pt x="485775" y="107156"/>
                      <a:pt x="472916" y="123730"/>
                      <a:pt x="453009" y="123730"/>
                    </a:cubicBezTo>
                    <a:cubicBezTo>
                      <a:pt x="433102" y="123730"/>
                      <a:pt x="420815" y="108585"/>
                      <a:pt x="420815" y="85153"/>
                    </a:cubicBezTo>
                    <a:cubicBezTo>
                      <a:pt x="420815" y="59245"/>
                      <a:pt x="433197" y="43148"/>
                      <a:pt x="453200" y="43148"/>
                    </a:cubicBezTo>
                    <a:moveTo>
                      <a:pt x="453009" y="117253"/>
                    </a:moveTo>
                    <a:lnTo>
                      <a:pt x="453009" y="117253"/>
                    </a:lnTo>
                    <a:cubicBezTo>
                      <a:pt x="465296" y="116872"/>
                      <a:pt x="466630" y="90392"/>
                      <a:pt x="466630" y="79057"/>
                    </a:cubicBezTo>
                    <a:cubicBezTo>
                      <a:pt x="466630" y="70199"/>
                      <a:pt x="465392" y="49720"/>
                      <a:pt x="453866" y="49720"/>
                    </a:cubicBezTo>
                    <a:cubicBezTo>
                      <a:pt x="441293" y="49720"/>
                      <a:pt x="439769" y="69723"/>
                      <a:pt x="439769" y="84677"/>
                    </a:cubicBezTo>
                    <a:cubicBezTo>
                      <a:pt x="439769" y="99631"/>
                      <a:pt x="442055" y="117253"/>
                      <a:pt x="452914" y="117253"/>
                    </a:cubicBezTo>
                    <a:moveTo>
                      <a:pt x="531971" y="43148"/>
                    </a:moveTo>
                    <a:lnTo>
                      <a:pt x="531971" y="65627"/>
                    </a:lnTo>
                    <a:cubicBezTo>
                      <a:pt x="531019" y="64770"/>
                      <a:pt x="528923" y="63436"/>
                      <a:pt x="525399" y="63436"/>
                    </a:cubicBezTo>
                    <a:cubicBezTo>
                      <a:pt x="524828" y="63436"/>
                      <a:pt x="524161" y="63436"/>
                      <a:pt x="523589" y="63532"/>
                    </a:cubicBezTo>
                    <a:cubicBezTo>
                      <a:pt x="516731" y="64294"/>
                      <a:pt x="512350" y="68104"/>
                      <a:pt x="510921" y="74486"/>
                    </a:cubicBezTo>
                    <a:cubicBezTo>
                      <a:pt x="509969" y="78391"/>
                      <a:pt x="509969" y="84868"/>
                      <a:pt x="510064" y="90106"/>
                    </a:cubicBezTo>
                    <a:cubicBezTo>
                      <a:pt x="510064" y="91249"/>
                      <a:pt x="510064" y="122206"/>
                      <a:pt x="510064" y="122206"/>
                    </a:cubicBezTo>
                    <a:lnTo>
                      <a:pt x="492252" y="122206"/>
                    </a:lnTo>
                    <a:lnTo>
                      <a:pt x="492252" y="44482"/>
                    </a:lnTo>
                    <a:lnTo>
                      <a:pt x="510064" y="44482"/>
                    </a:lnTo>
                    <a:lnTo>
                      <a:pt x="510064" y="64198"/>
                    </a:lnTo>
                    <a:lnTo>
                      <a:pt x="510826" y="64198"/>
                    </a:lnTo>
                    <a:cubicBezTo>
                      <a:pt x="514160" y="50197"/>
                      <a:pt x="521113" y="43244"/>
                      <a:pt x="531971" y="43053"/>
                    </a:cubicBezTo>
                  </a:path>
                </a:pathLst>
              </a:custGeom>
              <a:solidFill>
                <a:srgbClr val="1E2B5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0" name="Freihandform: Form 478">
                <a:extLst>
                  <a:ext uri="{FF2B5EF4-FFF2-40B4-BE49-F238E27FC236}">
                    <a16:creationId xmlns:a16="http://schemas.microsoft.com/office/drawing/2014/main" id="{E82C913E-6BD5-DDA3-60F4-297651F50E57}"/>
                  </a:ext>
                </a:extLst>
              </p:cNvPr>
              <p:cNvSpPr/>
              <p:nvPr/>
            </p:nvSpPr>
            <p:spPr>
              <a:xfrm>
                <a:off x="-213081" y="6783861"/>
                <a:ext cx="26955" cy="30098"/>
              </a:xfrm>
              <a:custGeom>
                <a:avLst/>
                <a:gdLst>
                  <a:gd name="connsiteX0" fmla="*/ 20193 w 26955"/>
                  <a:gd name="connsiteY0" fmla="*/ 15526 h 30098"/>
                  <a:gd name="connsiteX1" fmla="*/ 13526 w 26955"/>
                  <a:gd name="connsiteY1" fmla="*/ 15335 h 30098"/>
                  <a:gd name="connsiteX2" fmla="*/ 6858 w 26955"/>
                  <a:gd name="connsiteY2" fmla="*/ 15526 h 30098"/>
                  <a:gd name="connsiteX3" fmla="*/ 6858 w 26955"/>
                  <a:gd name="connsiteY3" fmla="*/ 18002 h 30098"/>
                  <a:gd name="connsiteX4" fmla="*/ 7239 w 26955"/>
                  <a:gd name="connsiteY4" fmla="*/ 30099 h 30098"/>
                  <a:gd name="connsiteX5" fmla="*/ 3619 w 26955"/>
                  <a:gd name="connsiteY5" fmla="*/ 29908 h 30098"/>
                  <a:gd name="connsiteX6" fmla="*/ 0 w 26955"/>
                  <a:gd name="connsiteY6" fmla="*/ 30099 h 30098"/>
                  <a:gd name="connsiteX7" fmla="*/ 381 w 26955"/>
                  <a:gd name="connsiteY7" fmla="*/ 18002 h 30098"/>
                  <a:gd name="connsiteX8" fmla="*/ 381 w 26955"/>
                  <a:gd name="connsiteY8" fmla="*/ 12097 h 30098"/>
                  <a:gd name="connsiteX9" fmla="*/ 0 w 26955"/>
                  <a:gd name="connsiteY9" fmla="*/ 0 h 30098"/>
                  <a:gd name="connsiteX10" fmla="*/ 3619 w 26955"/>
                  <a:gd name="connsiteY10" fmla="*/ 190 h 30098"/>
                  <a:gd name="connsiteX11" fmla="*/ 7239 w 26955"/>
                  <a:gd name="connsiteY11" fmla="*/ 0 h 30098"/>
                  <a:gd name="connsiteX12" fmla="*/ 6858 w 26955"/>
                  <a:gd name="connsiteY12" fmla="*/ 12002 h 30098"/>
                  <a:gd name="connsiteX13" fmla="*/ 13526 w 26955"/>
                  <a:gd name="connsiteY13" fmla="*/ 12002 h 30098"/>
                  <a:gd name="connsiteX14" fmla="*/ 20098 w 26955"/>
                  <a:gd name="connsiteY14" fmla="*/ 12002 h 30098"/>
                  <a:gd name="connsiteX15" fmla="*/ 19717 w 26955"/>
                  <a:gd name="connsiteY15" fmla="*/ 0 h 30098"/>
                  <a:gd name="connsiteX16" fmla="*/ 23336 w 26955"/>
                  <a:gd name="connsiteY16" fmla="*/ 190 h 30098"/>
                  <a:gd name="connsiteX17" fmla="*/ 26956 w 26955"/>
                  <a:gd name="connsiteY17" fmla="*/ 0 h 30098"/>
                  <a:gd name="connsiteX18" fmla="*/ 26575 w 26955"/>
                  <a:gd name="connsiteY18" fmla="*/ 12097 h 30098"/>
                  <a:gd name="connsiteX19" fmla="*/ 26575 w 26955"/>
                  <a:gd name="connsiteY19" fmla="*/ 18002 h 30098"/>
                  <a:gd name="connsiteX20" fmla="*/ 26956 w 26955"/>
                  <a:gd name="connsiteY20" fmla="*/ 30099 h 30098"/>
                  <a:gd name="connsiteX21" fmla="*/ 23336 w 26955"/>
                  <a:gd name="connsiteY21" fmla="*/ 29908 h 30098"/>
                  <a:gd name="connsiteX22" fmla="*/ 19717 w 26955"/>
                  <a:gd name="connsiteY22" fmla="*/ 30099 h 30098"/>
                  <a:gd name="connsiteX23" fmla="*/ 20098 w 26955"/>
                  <a:gd name="connsiteY23" fmla="*/ 18002 h 30098"/>
                  <a:gd name="connsiteX24" fmla="*/ 20098 w 26955"/>
                  <a:gd name="connsiteY24" fmla="*/ 15526 h 30098"/>
                  <a:gd name="connsiteX25" fmla="*/ 20098 w 26955"/>
                  <a:gd name="connsiteY25" fmla="*/ 15526 h 30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955" h="30098">
                    <a:moveTo>
                      <a:pt x="20193" y="15526"/>
                    </a:moveTo>
                    <a:cubicBezTo>
                      <a:pt x="18002" y="15526"/>
                      <a:pt x="15811" y="15335"/>
                      <a:pt x="13526" y="15335"/>
                    </a:cubicBezTo>
                    <a:cubicBezTo>
                      <a:pt x="11239" y="15335"/>
                      <a:pt x="9144" y="15335"/>
                      <a:pt x="6858" y="15526"/>
                    </a:cubicBezTo>
                    <a:lnTo>
                      <a:pt x="6858" y="18002"/>
                    </a:lnTo>
                    <a:cubicBezTo>
                      <a:pt x="6858" y="22860"/>
                      <a:pt x="6858" y="26289"/>
                      <a:pt x="7239" y="30099"/>
                    </a:cubicBezTo>
                    <a:cubicBezTo>
                      <a:pt x="6286" y="30099"/>
                      <a:pt x="5143" y="29908"/>
                      <a:pt x="3619" y="29908"/>
                    </a:cubicBezTo>
                    <a:cubicBezTo>
                      <a:pt x="2095" y="29908"/>
                      <a:pt x="952" y="30004"/>
                      <a:pt x="0" y="30099"/>
                    </a:cubicBezTo>
                    <a:cubicBezTo>
                      <a:pt x="286" y="26289"/>
                      <a:pt x="381" y="22860"/>
                      <a:pt x="381" y="18002"/>
                    </a:cubicBezTo>
                    <a:lnTo>
                      <a:pt x="381" y="12097"/>
                    </a:lnTo>
                    <a:cubicBezTo>
                      <a:pt x="381" y="7239"/>
                      <a:pt x="381" y="3810"/>
                      <a:pt x="0" y="0"/>
                    </a:cubicBezTo>
                    <a:cubicBezTo>
                      <a:pt x="952" y="0"/>
                      <a:pt x="2095" y="190"/>
                      <a:pt x="3619" y="190"/>
                    </a:cubicBezTo>
                    <a:cubicBezTo>
                      <a:pt x="5143" y="190"/>
                      <a:pt x="6286" y="95"/>
                      <a:pt x="7239" y="0"/>
                    </a:cubicBezTo>
                    <a:cubicBezTo>
                      <a:pt x="6953" y="3810"/>
                      <a:pt x="6858" y="7144"/>
                      <a:pt x="6858" y="12002"/>
                    </a:cubicBezTo>
                    <a:cubicBezTo>
                      <a:pt x="8382" y="12002"/>
                      <a:pt x="10477" y="12002"/>
                      <a:pt x="13526" y="12002"/>
                    </a:cubicBezTo>
                    <a:cubicBezTo>
                      <a:pt x="16573" y="12002"/>
                      <a:pt x="18479" y="12002"/>
                      <a:pt x="20098" y="12002"/>
                    </a:cubicBezTo>
                    <a:cubicBezTo>
                      <a:pt x="20098" y="7144"/>
                      <a:pt x="20098" y="3810"/>
                      <a:pt x="19717" y="0"/>
                    </a:cubicBezTo>
                    <a:cubicBezTo>
                      <a:pt x="20669" y="0"/>
                      <a:pt x="21812" y="190"/>
                      <a:pt x="23336" y="190"/>
                    </a:cubicBezTo>
                    <a:cubicBezTo>
                      <a:pt x="24860" y="190"/>
                      <a:pt x="26003" y="95"/>
                      <a:pt x="26956" y="0"/>
                    </a:cubicBezTo>
                    <a:cubicBezTo>
                      <a:pt x="26670" y="3810"/>
                      <a:pt x="26575" y="7239"/>
                      <a:pt x="26575" y="12097"/>
                    </a:cubicBezTo>
                    <a:lnTo>
                      <a:pt x="26575" y="18002"/>
                    </a:lnTo>
                    <a:cubicBezTo>
                      <a:pt x="26575" y="22860"/>
                      <a:pt x="26575" y="26289"/>
                      <a:pt x="26956" y="30099"/>
                    </a:cubicBezTo>
                    <a:cubicBezTo>
                      <a:pt x="26003" y="30099"/>
                      <a:pt x="24860" y="29908"/>
                      <a:pt x="23336" y="29908"/>
                    </a:cubicBezTo>
                    <a:cubicBezTo>
                      <a:pt x="21812" y="29908"/>
                      <a:pt x="20669" y="30004"/>
                      <a:pt x="19717" y="30099"/>
                    </a:cubicBezTo>
                    <a:cubicBezTo>
                      <a:pt x="20003" y="26289"/>
                      <a:pt x="20098" y="22860"/>
                      <a:pt x="20098" y="18002"/>
                    </a:cubicBezTo>
                    <a:lnTo>
                      <a:pt x="20098" y="15526"/>
                    </a:lnTo>
                    <a:lnTo>
                      <a:pt x="20098" y="15526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1" name="Freihandform: Form 479">
                <a:extLst>
                  <a:ext uri="{FF2B5EF4-FFF2-40B4-BE49-F238E27FC236}">
                    <a16:creationId xmlns:a16="http://schemas.microsoft.com/office/drawing/2014/main" id="{05CCB4F4-3802-E8B2-0D0E-DD29AB6D1D18}"/>
                  </a:ext>
                </a:extLst>
              </p:cNvPr>
              <p:cNvSpPr/>
              <p:nvPr/>
            </p:nvSpPr>
            <p:spPr>
              <a:xfrm>
                <a:off x="-175933" y="6783861"/>
                <a:ext cx="16954" cy="30194"/>
              </a:xfrm>
              <a:custGeom>
                <a:avLst/>
                <a:gdLst>
                  <a:gd name="connsiteX0" fmla="*/ 381 w 16954"/>
                  <a:gd name="connsiteY0" fmla="*/ 12097 h 30194"/>
                  <a:gd name="connsiteX1" fmla="*/ 0 w 16954"/>
                  <a:gd name="connsiteY1" fmla="*/ 0 h 30194"/>
                  <a:gd name="connsiteX2" fmla="*/ 7810 w 16954"/>
                  <a:gd name="connsiteY2" fmla="*/ 190 h 30194"/>
                  <a:gd name="connsiteX3" fmla="*/ 16954 w 16954"/>
                  <a:gd name="connsiteY3" fmla="*/ 0 h 30194"/>
                  <a:gd name="connsiteX4" fmla="*/ 16764 w 16954"/>
                  <a:gd name="connsiteY4" fmla="*/ 1810 h 30194"/>
                  <a:gd name="connsiteX5" fmla="*/ 16954 w 16954"/>
                  <a:gd name="connsiteY5" fmla="*/ 3810 h 30194"/>
                  <a:gd name="connsiteX6" fmla="*/ 7048 w 16954"/>
                  <a:gd name="connsiteY6" fmla="*/ 3238 h 30194"/>
                  <a:gd name="connsiteX7" fmla="*/ 6858 w 16954"/>
                  <a:gd name="connsiteY7" fmla="*/ 12763 h 30194"/>
                  <a:gd name="connsiteX8" fmla="*/ 16764 w 16954"/>
                  <a:gd name="connsiteY8" fmla="*/ 12383 h 30194"/>
                  <a:gd name="connsiteX9" fmla="*/ 16573 w 16954"/>
                  <a:gd name="connsiteY9" fmla="*/ 14383 h 30194"/>
                  <a:gd name="connsiteX10" fmla="*/ 16764 w 16954"/>
                  <a:gd name="connsiteY10" fmla="*/ 16192 h 30194"/>
                  <a:gd name="connsiteX11" fmla="*/ 6858 w 16954"/>
                  <a:gd name="connsiteY11" fmla="*/ 15811 h 30194"/>
                  <a:gd name="connsiteX12" fmla="*/ 6858 w 16954"/>
                  <a:gd name="connsiteY12" fmla="*/ 21431 h 30194"/>
                  <a:gd name="connsiteX13" fmla="*/ 6953 w 16954"/>
                  <a:gd name="connsiteY13" fmla="*/ 26860 h 30194"/>
                  <a:gd name="connsiteX14" fmla="*/ 16954 w 16954"/>
                  <a:gd name="connsiteY14" fmla="*/ 26289 h 30194"/>
                  <a:gd name="connsiteX15" fmla="*/ 16764 w 16954"/>
                  <a:gd name="connsiteY15" fmla="*/ 28289 h 30194"/>
                  <a:gd name="connsiteX16" fmla="*/ 16954 w 16954"/>
                  <a:gd name="connsiteY16" fmla="*/ 30194 h 30194"/>
                  <a:gd name="connsiteX17" fmla="*/ 9335 w 16954"/>
                  <a:gd name="connsiteY17" fmla="*/ 30004 h 30194"/>
                  <a:gd name="connsiteX18" fmla="*/ 95 w 16954"/>
                  <a:gd name="connsiteY18" fmla="*/ 30194 h 30194"/>
                  <a:gd name="connsiteX19" fmla="*/ 476 w 16954"/>
                  <a:gd name="connsiteY19" fmla="*/ 18098 h 30194"/>
                  <a:gd name="connsiteX20" fmla="*/ 476 w 16954"/>
                  <a:gd name="connsiteY20" fmla="*/ 12192 h 30194"/>
                  <a:gd name="connsiteX21" fmla="*/ 476 w 16954"/>
                  <a:gd name="connsiteY21" fmla="*/ 12192 h 30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6954" h="30194">
                    <a:moveTo>
                      <a:pt x="381" y="12097"/>
                    </a:moveTo>
                    <a:cubicBezTo>
                      <a:pt x="381" y="7239"/>
                      <a:pt x="381" y="3810"/>
                      <a:pt x="0" y="0"/>
                    </a:cubicBezTo>
                    <a:cubicBezTo>
                      <a:pt x="2572" y="0"/>
                      <a:pt x="5239" y="190"/>
                      <a:pt x="7810" y="190"/>
                    </a:cubicBezTo>
                    <a:cubicBezTo>
                      <a:pt x="12097" y="190"/>
                      <a:pt x="15716" y="190"/>
                      <a:pt x="16954" y="0"/>
                    </a:cubicBezTo>
                    <a:cubicBezTo>
                      <a:pt x="16954" y="476"/>
                      <a:pt x="16764" y="1048"/>
                      <a:pt x="16764" y="1810"/>
                    </a:cubicBezTo>
                    <a:cubicBezTo>
                      <a:pt x="16764" y="2762"/>
                      <a:pt x="16764" y="3143"/>
                      <a:pt x="16954" y="3810"/>
                    </a:cubicBezTo>
                    <a:cubicBezTo>
                      <a:pt x="13621" y="3619"/>
                      <a:pt x="8382" y="3238"/>
                      <a:pt x="7048" y="3238"/>
                    </a:cubicBezTo>
                    <a:cubicBezTo>
                      <a:pt x="6858" y="6382"/>
                      <a:pt x="6858" y="9620"/>
                      <a:pt x="6858" y="12763"/>
                    </a:cubicBezTo>
                    <a:cubicBezTo>
                      <a:pt x="10668" y="12763"/>
                      <a:pt x="13430" y="12573"/>
                      <a:pt x="16764" y="12383"/>
                    </a:cubicBezTo>
                    <a:cubicBezTo>
                      <a:pt x="16573" y="13430"/>
                      <a:pt x="16573" y="13811"/>
                      <a:pt x="16573" y="14383"/>
                    </a:cubicBezTo>
                    <a:cubicBezTo>
                      <a:pt x="16573" y="14859"/>
                      <a:pt x="16573" y="15240"/>
                      <a:pt x="16764" y="16192"/>
                    </a:cubicBezTo>
                    <a:cubicBezTo>
                      <a:pt x="13430" y="15907"/>
                      <a:pt x="10192" y="15811"/>
                      <a:pt x="6858" y="15811"/>
                    </a:cubicBezTo>
                    <a:cubicBezTo>
                      <a:pt x="6858" y="17621"/>
                      <a:pt x="6858" y="19526"/>
                      <a:pt x="6858" y="21431"/>
                    </a:cubicBezTo>
                    <a:cubicBezTo>
                      <a:pt x="6858" y="23336"/>
                      <a:pt x="6858" y="25146"/>
                      <a:pt x="6953" y="26860"/>
                    </a:cubicBezTo>
                    <a:cubicBezTo>
                      <a:pt x="10192" y="26860"/>
                      <a:pt x="13621" y="26670"/>
                      <a:pt x="16954" y="26289"/>
                    </a:cubicBezTo>
                    <a:cubicBezTo>
                      <a:pt x="16954" y="26860"/>
                      <a:pt x="16764" y="27337"/>
                      <a:pt x="16764" y="28289"/>
                    </a:cubicBezTo>
                    <a:cubicBezTo>
                      <a:pt x="16764" y="29242"/>
                      <a:pt x="16764" y="29623"/>
                      <a:pt x="16954" y="30194"/>
                    </a:cubicBezTo>
                    <a:cubicBezTo>
                      <a:pt x="15335" y="30194"/>
                      <a:pt x="13335" y="30004"/>
                      <a:pt x="9335" y="30004"/>
                    </a:cubicBezTo>
                    <a:cubicBezTo>
                      <a:pt x="2191" y="30004"/>
                      <a:pt x="1048" y="30099"/>
                      <a:pt x="95" y="30194"/>
                    </a:cubicBezTo>
                    <a:cubicBezTo>
                      <a:pt x="381" y="26384"/>
                      <a:pt x="476" y="22955"/>
                      <a:pt x="476" y="18098"/>
                    </a:cubicBezTo>
                    <a:lnTo>
                      <a:pt x="476" y="12192"/>
                    </a:lnTo>
                    <a:lnTo>
                      <a:pt x="476" y="1219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2" name="Freihandform: Form 480">
                <a:extLst>
                  <a:ext uri="{FF2B5EF4-FFF2-40B4-BE49-F238E27FC236}">
                    <a16:creationId xmlns:a16="http://schemas.microsoft.com/office/drawing/2014/main" id="{E89F3CD0-2960-38FE-0CF3-30B8FE9323CF}"/>
                  </a:ext>
                </a:extLst>
              </p:cNvPr>
              <p:cNvSpPr/>
              <p:nvPr/>
            </p:nvSpPr>
            <p:spPr>
              <a:xfrm>
                <a:off x="-153169" y="6783575"/>
                <a:ext cx="28003" cy="30384"/>
              </a:xfrm>
              <a:custGeom>
                <a:avLst/>
                <a:gdLst>
                  <a:gd name="connsiteX0" fmla="*/ 28004 w 28003"/>
                  <a:gd name="connsiteY0" fmla="*/ 30385 h 30384"/>
                  <a:gd name="connsiteX1" fmla="*/ 24194 w 28003"/>
                  <a:gd name="connsiteY1" fmla="*/ 30194 h 30384"/>
                  <a:gd name="connsiteX2" fmla="*/ 20479 w 28003"/>
                  <a:gd name="connsiteY2" fmla="*/ 30385 h 30384"/>
                  <a:gd name="connsiteX3" fmla="*/ 17431 w 28003"/>
                  <a:gd name="connsiteY3" fmla="*/ 21431 h 30384"/>
                  <a:gd name="connsiteX4" fmla="*/ 11811 w 28003"/>
                  <a:gd name="connsiteY4" fmla="*/ 21431 h 30384"/>
                  <a:gd name="connsiteX5" fmla="*/ 7239 w 28003"/>
                  <a:gd name="connsiteY5" fmla="*/ 21431 h 30384"/>
                  <a:gd name="connsiteX6" fmla="*/ 4286 w 28003"/>
                  <a:gd name="connsiteY6" fmla="*/ 30385 h 30384"/>
                  <a:gd name="connsiteX7" fmla="*/ 2191 w 28003"/>
                  <a:gd name="connsiteY7" fmla="*/ 30194 h 30384"/>
                  <a:gd name="connsiteX8" fmla="*/ 0 w 28003"/>
                  <a:gd name="connsiteY8" fmla="*/ 30385 h 30384"/>
                  <a:gd name="connsiteX9" fmla="*/ 12478 w 28003"/>
                  <a:gd name="connsiteY9" fmla="*/ 0 h 30384"/>
                  <a:gd name="connsiteX10" fmla="*/ 14097 w 28003"/>
                  <a:gd name="connsiteY10" fmla="*/ 190 h 30384"/>
                  <a:gd name="connsiteX11" fmla="*/ 15716 w 28003"/>
                  <a:gd name="connsiteY11" fmla="*/ 0 h 30384"/>
                  <a:gd name="connsiteX12" fmla="*/ 27908 w 28003"/>
                  <a:gd name="connsiteY12" fmla="*/ 30385 h 30384"/>
                  <a:gd name="connsiteX13" fmla="*/ 16288 w 28003"/>
                  <a:gd name="connsiteY13" fmla="*/ 18859 h 30384"/>
                  <a:gd name="connsiteX14" fmla="*/ 12383 w 28003"/>
                  <a:gd name="connsiteY14" fmla="*/ 8477 h 30384"/>
                  <a:gd name="connsiteX15" fmla="*/ 8287 w 28003"/>
                  <a:gd name="connsiteY15" fmla="*/ 18859 h 30384"/>
                  <a:gd name="connsiteX16" fmla="*/ 16288 w 28003"/>
                  <a:gd name="connsiteY16" fmla="*/ 18859 h 30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003" h="30384">
                    <a:moveTo>
                      <a:pt x="28004" y="30385"/>
                    </a:moveTo>
                    <a:cubicBezTo>
                      <a:pt x="26575" y="30385"/>
                      <a:pt x="25337" y="30194"/>
                      <a:pt x="24194" y="30194"/>
                    </a:cubicBezTo>
                    <a:cubicBezTo>
                      <a:pt x="23051" y="30194"/>
                      <a:pt x="21717" y="30290"/>
                      <a:pt x="20479" y="30385"/>
                    </a:cubicBezTo>
                    <a:cubicBezTo>
                      <a:pt x="19526" y="27432"/>
                      <a:pt x="18574" y="24384"/>
                      <a:pt x="17431" y="21431"/>
                    </a:cubicBezTo>
                    <a:cubicBezTo>
                      <a:pt x="15526" y="21431"/>
                      <a:pt x="13716" y="21431"/>
                      <a:pt x="11811" y="21431"/>
                    </a:cubicBezTo>
                    <a:cubicBezTo>
                      <a:pt x="10287" y="21431"/>
                      <a:pt x="8763" y="21431"/>
                      <a:pt x="7239" y="21431"/>
                    </a:cubicBezTo>
                    <a:cubicBezTo>
                      <a:pt x="6096" y="24384"/>
                      <a:pt x="5143" y="27337"/>
                      <a:pt x="4286" y="30385"/>
                    </a:cubicBezTo>
                    <a:cubicBezTo>
                      <a:pt x="3620" y="30385"/>
                      <a:pt x="2953" y="30194"/>
                      <a:pt x="2191" y="30194"/>
                    </a:cubicBezTo>
                    <a:cubicBezTo>
                      <a:pt x="1429" y="30194"/>
                      <a:pt x="857" y="30290"/>
                      <a:pt x="0" y="30385"/>
                    </a:cubicBezTo>
                    <a:cubicBezTo>
                      <a:pt x="2096" y="25527"/>
                      <a:pt x="8668" y="10001"/>
                      <a:pt x="12478" y="0"/>
                    </a:cubicBezTo>
                    <a:cubicBezTo>
                      <a:pt x="13049" y="0"/>
                      <a:pt x="13526" y="190"/>
                      <a:pt x="14097" y="190"/>
                    </a:cubicBezTo>
                    <a:cubicBezTo>
                      <a:pt x="14669" y="190"/>
                      <a:pt x="15145" y="95"/>
                      <a:pt x="15716" y="0"/>
                    </a:cubicBezTo>
                    <a:cubicBezTo>
                      <a:pt x="19431" y="10001"/>
                      <a:pt x="24575" y="23241"/>
                      <a:pt x="27908" y="30385"/>
                    </a:cubicBezTo>
                    <a:moveTo>
                      <a:pt x="16288" y="18859"/>
                    </a:moveTo>
                    <a:cubicBezTo>
                      <a:pt x="15050" y="15335"/>
                      <a:pt x="13811" y="11906"/>
                      <a:pt x="12383" y="8477"/>
                    </a:cubicBezTo>
                    <a:cubicBezTo>
                      <a:pt x="10859" y="11906"/>
                      <a:pt x="9525" y="15335"/>
                      <a:pt x="8287" y="18859"/>
                    </a:cubicBezTo>
                    <a:lnTo>
                      <a:pt x="16288" y="18859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3" name="Freihandform: Form 481">
                <a:extLst>
                  <a:ext uri="{FF2B5EF4-FFF2-40B4-BE49-F238E27FC236}">
                    <a16:creationId xmlns:a16="http://schemas.microsoft.com/office/drawing/2014/main" id="{D65F70CF-964D-1973-4129-9F8B6CD91B5F}"/>
                  </a:ext>
                </a:extLst>
              </p:cNvPr>
              <p:cNvSpPr/>
              <p:nvPr/>
            </p:nvSpPr>
            <p:spPr>
              <a:xfrm>
                <a:off x="-117545" y="6783861"/>
                <a:ext cx="16859" cy="30194"/>
              </a:xfrm>
              <a:custGeom>
                <a:avLst/>
                <a:gdLst>
                  <a:gd name="connsiteX0" fmla="*/ 381 w 16859"/>
                  <a:gd name="connsiteY0" fmla="*/ 12097 h 30194"/>
                  <a:gd name="connsiteX1" fmla="*/ 0 w 16859"/>
                  <a:gd name="connsiteY1" fmla="*/ 0 h 30194"/>
                  <a:gd name="connsiteX2" fmla="*/ 3620 w 16859"/>
                  <a:gd name="connsiteY2" fmla="*/ 190 h 30194"/>
                  <a:gd name="connsiteX3" fmla="*/ 7239 w 16859"/>
                  <a:gd name="connsiteY3" fmla="*/ 0 h 30194"/>
                  <a:gd name="connsiteX4" fmla="*/ 6858 w 16859"/>
                  <a:gd name="connsiteY4" fmla="*/ 12097 h 30194"/>
                  <a:gd name="connsiteX5" fmla="*/ 6858 w 16859"/>
                  <a:gd name="connsiteY5" fmla="*/ 18002 h 30194"/>
                  <a:gd name="connsiteX6" fmla="*/ 6858 w 16859"/>
                  <a:gd name="connsiteY6" fmla="*/ 26860 h 30194"/>
                  <a:gd name="connsiteX7" fmla="*/ 16859 w 16859"/>
                  <a:gd name="connsiteY7" fmla="*/ 26289 h 30194"/>
                  <a:gd name="connsiteX8" fmla="*/ 16669 w 16859"/>
                  <a:gd name="connsiteY8" fmla="*/ 28289 h 30194"/>
                  <a:gd name="connsiteX9" fmla="*/ 16859 w 16859"/>
                  <a:gd name="connsiteY9" fmla="*/ 30194 h 30194"/>
                  <a:gd name="connsiteX10" fmla="*/ 9239 w 16859"/>
                  <a:gd name="connsiteY10" fmla="*/ 30004 h 30194"/>
                  <a:gd name="connsiteX11" fmla="*/ 0 w 16859"/>
                  <a:gd name="connsiteY11" fmla="*/ 30194 h 30194"/>
                  <a:gd name="connsiteX12" fmla="*/ 381 w 16859"/>
                  <a:gd name="connsiteY12" fmla="*/ 18098 h 30194"/>
                  <a:gd name="connsiteX13" fmla="*/ 381 w 16859"/>
                  <a:gd name="connsiteY13" fmla="*/ 12192 h 30194"/>
                  <a:gd name="connsiteX14" fmla="*/ 381 w 16859"/>
                  <a:gd name="connsiteY14" fmla="*/ 12192 h 30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6859" h="30194">
                    <a:moveTo>
                      <a:pt x="381" y="12097"/>
                    </a:moveTo>
                    <a:cubicBezTo>
                      <a:pt x="381" y="7239"/>
                      <a:pt x="381" y="3810"/>
                      <a:pt x="0" y="0"/>
                    </a:cubicBezTo>
                    <a:cubicBezTo>
                      <a:pt x="952" y="0"/>
                      <a:pt x="2095" y="190"/>
                      <a:pt x="3620" y="190"/>
                    </a:cubicBezTo>
                    <a:cubicBezTo>
                      <a:pt x="5143" y="190"/>
                      <a:pt x="6286" y="95"/>
                      <a:pt x="7239" y="0"/>
                    </a:cubicBezTo>
                    <a:cubicBezTo>
                      <a:pt x="6953" y="3810"/>
                      <a:pt x="6858" y="7239"/>
                      <a:pt x="6858" y="12097"/>
                    </a:cubicBezTo>
                    <a:lnTo>
                      <a:pt x="6858" y="18002"/>
                    </a:lnTo>
                    <a:cubicBezTo>
                      <a:pt x="6858" y="21241"/>
                      <a:pt x="6858" y="24575"/>
                      <a:pt x="6858" y="26860"/>
                    </a:cubicBezTo>
                    <a:cubicBezTo>
                      <a:pt x="10096" y="26860"/>
                      <a:pt x="13526" y="26670"/>
                      <a:pt x="16859" y="26289"/>
                    </a:cubicBezTo>
                    <a:cubicBezTo>
                      <a:pt x="16859" y="26860"/>
                      <a:pt x="16669" y="27337"/>
                      <a:pt x="16669" y="28289"/>
                    </a:cubicBezTo>
                    <a:cubicBezTo>
                      <a:pt x="16669" y="29242"/>
                      <a:pt x="16669" y="29623"/>
                      <a:pt x="16859" y="30194"/>
                    </a:cubicBezTo>
                    <a:cubicBezTo>
                      <a:pt x="15240" y="30194"/>
                      <a:pt x="13240" y="30004"/>
                      <a:pt x="9239" y="30004"/>
                    </a:cubicBezTo>
                    <a:cubicBezTo>
                      <a:pt x="2095" y="30004"/>
                      <a:pt x="952" y="30099"/>
                      <a:pt x="0" y="30194"/>
                    </a:cubicBezTo>
                    <a:cubicBezTo>
                      <a:pt x="286" y="26384"/>
                      <a:pt x="381" y="22955"/>
                      <a:pt x="381" y="18098"/>
                    </a:cubicBezTo>
                    <a:lnTo>
                      <a:pt x="381" y="12192"/>
                    </a:lnTo>
                    <a:lnTo>
                      <a:pt x="381" y="1219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4" name="Freihandform: Form 482">
                <a:extLst>
                  <a:ext uri="{FF2B5EF4-FFF2-40B4-BE49-F238E27FC236}">
                    <a16:creationId xmlns:a16="http://schemas.microsoft.com/office/drawing/2014/main" id="{36B567EF-E527-18B5-573F-43207FF728D1}"/>
                  </a:ext>
                </a:extLst>
              </p:cNvPr>
              <p:cNvSpPr/>
              <p:nvPr/>
            </p:nvSpPr>
            <p:spPr>
              <a:xfrm>
                <a:off x="-92113" y="6783861"/>
                <a:ext cx="7239" cy="30098"/>
              </a:xfrm>
              <a:custGeom>
                <a:avLst/>
                <a:gdLst>
                  <a:gd name="connsiteX0" fmla="*/ 381 w 7239"/>
                  <a:gd name="connsiteY0" fmla="*/ 12097 h 30098"/>
                  <a:gd name="connsiteX1" fmla="*/ 0 w 7239"/>
                  <a:gd name="connsiteY1" fmla="*/ 0 h 30098"/>
                  <a:gd name="connsiteX2" fmla="*/ 3619 w 7239"/>
                  <a:gd name="connsiteY2" fmla="*/ 190 h 30098"/>
                  <a:gd name="connsiteX3" fmla="*/ 7239 w 7239"/>
                  <a:gd name="connsiteY3" fmla="*/ 0 h 30098"/>
                  <a:gd name="connsiteX4" fmla="*/ 6858 w 7239"/>
                  <a:gd name="connsiteY4" fmla="*/ 12097 h 30098"/>
                  <a:gd name="connsiteX5" fmla="*/ 6858 w 7239"/>
                  <a:gd name="connsiteY5" fmla="*/ 18002 h 30098"/>
                  <a:gd name="connsiteX6" fmla="*/ 7239 w 7239"/>
                  <a:gd name="connsiteY6" fmla="*/ 30099 h 30098"/>
                  <a:gd name="connsiteX7" fmla="*/ 3619 w 7239"/>
                  <a:gd name="connsiteY7" fmla="*/ 29908 h 30098"/>
                  <a:gd name="connsiteX8" fmla="*/ 0 w 7239"/>
                  <a:gd name="connsiteY8" fmla="*/ 30099 h 30098"/>
                  <a:gd name="connsiteX9" fmla="*/ 381 w 7239"/>
                  <a:gd name="connsiteY9" fmla="*/ 18002 h 30098"/>
                  <a:gd name="connsiteX10" fmla="*/ 381 w 7239"/>
                  <a:gd name="connsiteY10" fmla="*/ 12097 h 30098"/>
                  <a:gd name="connsiteX11" fmla="*/ 381 w 7239"/>
                  <a:gd name="connsiteY11" fmla="*/ 12097 h 30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239" h="30098">
                    <a:moveTo>
                      <a:pt x="381" y="12097"/>
                    </a:moveTo>
                    <a:cubicBezTo>
                      <a:pt x="381" y="7239"/>
                      <a:pt x="381" y="3810"/>
                      <a:pt x="0" y="0"/>
                    </a:cubicBezTo>
                    <a:cubicBezTo>
                      <a:pt x="952" y="0"/>
                      <a:pt x="2095" y="190"/>
                      <a:pt x="3619" y="190"/>
                    </a:cubicBezTo>
                    <a:cubicBezTo>
                      <a:pt x="5143" y="190"/>
                      <a:pt x="6286" y="95"/>
                      <a:pt x="7239" y="0"/>
                    </a:cubicBezTo>
                    <a:cubicBezTo>
                      <a:pt x="6953" y="3810"/>
                      <a:pt x="6858" y="7239"/>
                      <a:pt x="6858" y="12097"/>
                    </a:cubicBezTo>
                    <a:lnTo>
                      <a:pt x="6858" y="18002"/>
                    </a:lnTo>
                    <a:cubicBezTo>
                      <a:pt x="6858" y="22860"/>
                      <a:pt x="6858" y="26289"/>
                      <a:pt x="7239" y="30099"/>
                    </a:cubicBezTo>
                    <a:cubicBezTo>
                      <a:pt x="6286" y="30099"/>
                      <a:pt x="5143" y="29908"/>
                      <a:pt x="3619" y="29908"/>
                    </a:cubicBezTo>
                    <a:cubicBezTo>
                      <a:pt x="2095" y="29908"/>
                      <a:pt x="952" y="30004"/>
                      <a:pt x="0" y="30099"/>
                    </a:cubicBezTo>
                    <a:cubicBezTo>
                      <a:pt x="286" y="26289"/>
                      <a:pt x="381" y="22860"/>
                      <a:pt x="381" y="18002"/>
                    </a:cubicBezTo>
                    <a:lnTo>
                      <a:pt x="381" y="12097"/>
                    </a:lnTo>
                    <a:lnTo>
                      <a:pt x="381" y="1209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5" name="Freihandform: Form 483">
                <a:extLst>
                  <a:ext uri="{FF2B5EF4-FFF2-40B4-BE49-F238E27FC236}">
                    <a16:creationId xmlns:a16="http://schemas.microsoft.com/office/drawing/2014/main" id="{F95481DA-1A31-D942-4E0C-870E2D270675}"/>
                  </a:ext>
                </a:extLst>
              </p:cNvPr>
              <p:cNvSpPr/>
              <p:nvPr/>
            </p:nvSpPr>
            <p:spPr>
              <a:xfrm>
                <a:off x="-74016" y="6783861"/>
                <a:ext cx="27051" cy="30098"/>
              </a:xfrm>
              <a:custGeom>
                <a:avLst/>
                <a:gdLst>
                  <a:gd name="connsiteX0" fmla="*/ 381 w 27051"/>
                  <a:gd name="connsiteY0" fmla="*/ 0 h 30098"/>
                  <a:gd name="connsiteX1" fmla="*/ 2381 w 27051"/>
                  <a:gd name="connsiteY1" fmla="*/ 190 h 30098"/>
                  <a:gd name="connsiteX2" fmla="*/ 4381 w 27051"/>
                  <a:gd name="connsiteY2" fmla="*/ 0 h 30098"/>
                  <a:gd name="connsiteX3" fmla="*/ 23336 w 27051"/>
                  <a:gd name="connsiteY3" fmla="*/ 20765 h 30098"/>
                  <a:gd name="connsiteX4" fmla="*/ 23051 w 27051"/>
                  <a:gd name="connsiteY4" fmla="*/ 0 h 30098"/>
                  <a:gd name="connsiteX5" fmla="*/ 25051 w 27051"/>
                  <a:gd name="connsiteY5" fmla="*/ 190 h 30098"/>
                  <a:gd name="connsiteX6" fmla="*/ 27051 w 27051"/>
                  <a:gd name="connsiteY6" fmla="*/ 0 h 30098"/>
                  <a:gd name="connsiteX7" fmla="*/ 26384 w 27051"/>
                  <a:gd name="connsiteY7" fmla="*/ 30099 h 30098"/>
                  <a:gd name="connsiteX8" fmla="*/ 24575 w 27051"/>
                  <a:gd name="connsiteY8" fmla="*/ 29908 h 30098"/>
                  <a:gd name="connsiteX9" fmla="*/ 22860 w 27051"/>
                  <a:gd name="connsiteY9" fmla="*/ 30099 h 30098"/>
                  <a:gd name="connsiteX10" fmla="*/ 3810 w 27051"/>
                  <a:gd name="connsiteY10" fmla="*/ 8858 h 30098"/>
                  <a:gd name="connsiteX11" fmla="*/ 3810 w 27051"/>
                  <a:gd name="connsiteY11" fmla="*/ 19050 h 30098"/>
                  <a:gd name="connsiteX12" fmla="*/ 4096 w 27051"/>
                  <a:gd name="connsiteY12" fmla="*/ 30099 h 30098"/>
                  <a:gd name="connsiteX13" fmla="*/ 2000 w 27051"/>
                  <a:gd name="connsiteY13" fmla="*/ 29908 h 30098"/>
                  <a:gd name="connsiteX14" fmla="*/ 0 w 27051"/>
                  <a:gd name="connsiteY14" fmla="*/ 30099 h 30098"/>
                  <a:gd name="connsiteX15" fmla="*/ 857 w 27051"/>
                  <a:gd name="connsiteY15" fmla="*/ 8668 h 30098"/>
                  <a:gd name="connsiteX16" fmla="*/ 667 w 27051"/>
                  <a:gd name="connsiteY16" fmla="*/ 0 h 30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7051" h="30098">
                    <a:moveTo>
                      <a:pt x="381" y="0"/>
                    </a:moveTo>
                    <a:cubicBezTo>
                      <a:pt x="1048" y="95"/>
                      <a:pt x="1715" y="190"/>
                      <a:pt x="2381" y="190"/>
                    </a:cubicBezTo>
                    <a:cubicBezTo>
                      <a:pt x="3048" y="190"/>
                      <a:pt x="3715" y="190"/>
                      <a:pt x="4381" y="0"/>
                    </a:cubicBezTo>
                    <a:cubicBezTo>
                      <a:pt x="10668" y="6953"/>
                      <a:pt x="16955" y="13811"/>
                      <a:pt x="23336" y="20765"/>
                    </a:cubicBezTo>
                    <a:cubicBezTo>
                      <a:pt x="23336" y="13811"/>
                      <a:pt x="23336" y="1905"/>
                      <a:pt x="23051" y="0"/>
                    </a:cubicBezTo>
                    <a:cubicBezTo>
                      <a:pt x="23717" y="95"/>
                      <a:pt x="24384" y="190"/>
                      <a:pt x="25051" y="190"/>
                    </a:cubicBezTo>
                    <a:cubicBezTo>
                      <a:pt x="25718" y="190"/>
                      <a:pt x="26384" y="190"/>
                      <a:pt x="27051" y="0"/>
                    </a:cubicBezTo>
                    <a:cubicBezTo>
                      <a:pt x="26384" y="12668"/>
                      <a:pt x="26384" y="18479"/>
                      <a:pt x="26384" y="30099"/>
                    </a:cubicBezTo>
                    <a:cubicBezTo>
                      <a:pt x="25813" y="30004"/>
                      <a:pt x="25241" y="29908"/>
                      <a:pt x="24575" y="29908"/>
                    </a:cubicBezTo>
                    <a:cubicBezTo>
                      <a:pt x="23908" y="29908"/>
                      <a:pt x="23431" y="29908"/>
                      <a:pt x="22860" y="30099"/>
                    </a:cubicBezTo>
                    <a:cubicBezTo>
                      <a:pt x="16859" y="23050"/>
                      <a:pt x="10478" y="15907"/>
                      <a:pt x="3810" y="8858"/>
                    </a:cubicBezTo>
                    <a:cubicBezTo>
                      <a:pt x="3810" y="12097"/>
                      <a:pt x="3810" y="15716"/>
                      <a:pt x="3810" y="19050"/>
                    </a:cubicBezTo>
                    <a:cubicBezTo>
                      <a:pt x="3810" y="26003"/>
                      <a:pt x="3905" y="28480"/>
                      <a:pt x="4096" y="30099"/>
                    </a:cubicBezTo>
                    <a:cubicBezTo>
                      <a:pt x="3429" y="30004"/>
                      <a:pt x="2667" y="29908"/>
                      <a:pt x="2000" y="29908"/>
                    </a:cubicBezTo>
                    <a:cubicBezTo>
                      <a:pt x="1333" y="29908"/>
                      <a:pt x="667" y="29908"/>
                      <a:pt x="0" y="30099"/>
                    </a:cubicBezTo>
                    <a:cubicBezTo>
                      <a:pt x="191" y="28861"/>
                      <a:pt x="857" y="17526"/>
                      <a:pt x="857" y="8668"/>
                    </a:cubicBezTo>
                    <a:cubicBezTo>
                      <a:pt x="857" y="4763"/>
                      <a:pt x="667" y="2096"/>
                      <a:pt x="667" y="0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6" name="Freihandform: Form 484">
                <a:extLst>
                  <a:ext uri="{FF2B5EF4-FFF2-40B4-BE49-F238E27FC236}">
                    <a16:creationId xmlns:a16="http://schemas.microsoft.com/office/drawing/2014/main" id="{19CBE975-DD1B-77BB-7C14-74120533C7FA}"/>
                  </a:ext>
                </a:extLst>
              </p:cNvPr>
              <p:cNvSpPr/>
              <p:nvPr/>
            </p:nvSpPr>
            <p:spPr>
              <a:xfrm>
                <a:off x="-38297" y="6783194"/>
                <a:ext cx="29146" cy="31337"/>
              </a:xfrm>
              <a:custGeom>
                <a:avLst/>
                <a:gdLst>
                  <a:gd name="connsiteX0" fmla="*/ 26860 w 29146"/>
                  <a:gd name="connsiteY0" fmla="*/ 7144 h 31337"/>
                  <a:gd name="connsiteX1" fmla="*/ 18288 w 29146"/>
                  <a:gd name="connsiteY1" fmla="*/ 2762 h 31337"/>
                  <a:gd name="connsiteX2" fmla="*/ 7239 w 29146"/>
                  <a:gd name="connsiteY2" fmla="*/ 16478 h 31337"/>
                  <a:gd name="connsiteX3" fmla="*/ 17812 w 29146"/>
                  <a:gd name="connsiteY3" fmla="*/ 28670 h 31337"/>
                  <a:gd name="connsiteX4" fmla="*/ 22574 w 29146"/>
                  <a:gd name="connsiteY4" fmla="*/ 27908 h 31337"/>
                  <a:gd name="connsiteX5" fmla="*/ 22669 w 29146"/>
                  <a:gd name="connsiteY5" fmla="*/ 24860 h 31337"/>
                  <a:gd name="connsiteX6" fmla="*/ 22384 w 29146"/>
                  <a:gd name="connsiteY6" fmla="*/ 17335 h 31337"/>
                  <a:gd name="connsiteX7" fmla="*/ 25622 w 29146"/>
                  <a:gd name="connsiteY7" fmla="*/ 17526 h 31337"/>
                  <a:gd name="connsiteX8" fmla="*/ 29146 w 29146"/>
                  <a:gd name="connsiteY8" fmla="*/ 17335 h 31337"/>
                  <a:gd name="connsiteX9" fmla="*/ 28766 w 29146"/>
                  <a:gd name="connsiteY9" fmla="*/ 24670 h 31337"/>
                  <a:gd name="connsiteX10" fmla="*/ 28861 w 29146"/>
                  <a:gd name="connsiteY10" fmla="*/ 29432 h 31337"/>
                  <a:gd name="connsiteX11" fmla="*/ 17240 w 29146"/>
                  <a:gd name="connsiteY11" fmla="*/ 31337 h 31337"/>
                  <a:gd name="connsiteX12" fmla="*/ 0 w 29146"/>
                  <a:gd name="connsiteY12" fmla="*/ 16669 h 31337"/>
                  <a:gd name="connsiteX13" fmla="*/ 18097 w 29146"/>
                  <a:gd name="connsiteY13" fmla="*/ 0 h 31337"/>
                  <a:gd name="connsiteX14" fmla="*/ 28670 w 29146"/>
                  <a:gd name="connsiteY14" fmla="*/ 2667 h 31337"/>
                  <a:gd name="connsiteX15" fmla="*/ 27432 w 29146"/>
                  <a:gd name="connsiteY15" fmla="*/ 7144 h 31337"/>
                  <a:gd name="connsiteX16" fmla="*/ 26860 w 29146"/>
                  <a:gd name="connsiteY16" fmla="*/ 7144 h 31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146" h="31337">
                    <a:moveTo>
                      <a:pt x="26860" y="7144"/>
                    </a:moveTo>
                    <a:cubicBezTo>
                      <a:pt x="25051" y="4477"/>
                      <a:pt x="22193" y="2762"/>
                      <a:pt x="18288" y="2762"/>
                    </a:cubicBezTo>
                    <a:cubicBezTo>
                      <a:pt x="12859" y="2762"/>
                      <a:pt x="7239" y="7239"/>
                      <a:pt x="7239" y="16478"/>
                    </a:cubicBezTo>
                    <a:cubicBezTo>
                      <a:pt x="7239" y="23431"/>
                      <a:pt x="11144" y="28670"/>
                      <a:pt x="17812" y="28670"/>
                    </a:cubicBezTo>
                    <a:cubicBezTo>
                      <a:pt x="19336" y="28670"/>
                      <a:pt x="21907" y="28384"/>
                      <a:pt x="22574" y="27908"/>
                    </a:cubicBezTo>
                    <a:cubicBezTo>
                      <a:pt x="22669" y="27242"/>
                      <a:pt x="22669" y="26098"/>
                      <a:pt x="22669" y="24860"/>
                    </a:cubicBezTo>
                    <a:cubicBezTo>
                      <a:pt x="22669" y="20098"/>
                      <a:pt x="22384" y="18193"/>
                      <a:pt x="22384" y="17335"/>
                    </a:cubicBezTo>
                    <a:cubicBezTo>
                      <a:pt x="22955" y="17335"/>
                      <a:pt x="23813" y="17526"/>
                      <a:pt x="25622" y="17526"/>
                    </a:cubicBezTo>
                    <a:cubicBezTo>
                      <a:pt x="27718" y="17526"/>
                      <a:pt x="28575" y="17431"/>
                      <a:pt x="29146" y="17335"/>
                    </a:cubicBezTo>
                    <a:cubicBezTo>
                      <a:pt x="28956" y="18288"/>
                      <a:pt x="28766" y="21908"/>
                      <a:pt x="28766" y="24670"/>
                    </a:cubicBezTo>
                    <a:cubicBezTo>
                      <a:pt x="28766" y="26479"/>
                      <a:pt x="28766" y="28861"/>
                      <a:pt x="28861" y="29432"/>
                    </a:cubicBezTo>
                    <a:cubicBezTo>
                      <a:pt x="25051" y="30480"/>
                      <a:pt x="21050" y="31337"/>
                      <a:pt x="17240" y="31337"/>
                    </a:cubicBezTo>
                    <a:cubicBezTo>
                      <a:pt x="7144" y="31337"/>
                      <a:pt x="0" y="25622"/>
                      <a:pt x="0" y="16669"/>
                    </a:cubicBezTo>
                    <a:cubicBezTo>
                      <a:pt x="0" y="5525"/>
                      <a:pt x="7810" y="0"/>
                      <a:pt x="18097" y="0"/>
                    </a:cubicBezTo>
                    <a:cubicBezTo>
                      <a:pt x="22479" y="0"/>
                      <a:pt x="25527" y="952"/>
                      <a:pt x="28670" y="2667"/>
                    </a:cubicBezTo>
                    <a:cubicBezTo>
                      <a:pt x="28194" y="4191"/>
                      <a:pt x="27718" y="5620"/>
                      <a:pt x="27432" y="7144"/>
                    </a:cubicBezTo>
                    <a:lnTo>
                      <a:pt x="26860" y="7144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7" name="Freihandform: Form 485">
                <a:extLst>
                  <a:ext uri="{FF2B5EF4-FFF2-40B4-BE49-F238E27FC236}">
                    <a16:creationId xmlns:a16="http://schemas.microsoft.com/office/drawing/2014/main" id="{98A32E08-D1C3-9CEA-1DFB-4EFAB0030C87}"/>
                  </a:ext>
                </a:extLst>
              </p:cNvPr>
              <p:cNvSpPr/>
              <p:nvPr/>
            </p:nvSpPr>
            <p:spPr>
              <a:xfrm>
                <a:off x="14375" y="6783290"/>
                <a:ext cx="33337" cy="31337"/>
              </a:xfrm>
              <a:custGeom>
                <a:avLst/>
                <a:gdLst>
                  <a:gd name="connsiteX0" fmla="*/ 16764 w 33337"/>
                  <a:gd name="connsiteY0" fmla="*/ 0 h 31337"/>
                  <a:gd name="connsiteX1" fmla="*/ 33338 w 33337"/>
                  <a:gd name="connsiteY1" fmla="*/ 15621 h 31337"/>
                  <a:gd name="connsiteX2" fmla="*/ 16669 w 33337"/>
                  <a:gd name="connsiteY2" fmla="*/ 31337 h 31337"/>
                  <a:gd name="connsiteX3" fmla="*/ 0 w 33337"/>
                  <a:gd name="connsiteY3" fmla="*/ 15716 h 31337"/>
                  <a:gd name="connsiteX4" fmla="*/ 16764 w 33337"/>
                  <a:gd name="connsiteY4" fmla="*/ 95 h 31337"/>
                  <a:gd name="connsiteX5" fmla="*/ 16669 w 33337"/>
                  <a:gd name="connsiteY5" fmla="*/ 2572 h 31337"/>
                  <a:gd name="connsiteX6" fmla="*/ 7144 w 33337"/>
                  <a:gd name="connsiteY6" fmla="*/ 16097 h 31337"/>
                  <a:gd name="connsiteX7" fmla="*/ 16288 w 33337"/>
                  <a:gd name="connsiteY7" fmla="*/ 28670 h 31337"/>
                  <a:gd name="connsiteX8" fmla="*/ 26098 w 33337"/>
                  <a:gd name="connsiteY8" fmla="*/ 14764 h 31337"/>
                  <a:gd name="connsiteX9" fmla="*/ 16573 w 33337"/>
                  <a:gd name="connsiteY9" fmla="*/ 2572 h 31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337" h="31337">
                    <a:moveTo>
                      <a:pt x="16764" y="0"/>
                    </a:moveTo>
                    <a:cubicBezTo>
                      <a:pt x="26003" y="0"/>
                      <a:pt x="33338" y="5048"/>
                      <a:pt x="33338" y="15621"/>
                    </a:cubicBezTo>
                    <a:cubicBezTo>
                      <a:pt x="33338" y="24289"/>
                      <a:pt x="26384" y="31337"/>
                      <a:pt x="16669" y="31337"/>
                    </a:cubicBezTo>
                    <a:cubicBezTo>
                      <a:pt x="7429" y="31337"/>
                      <a:pt x="0" y="26575"/>
                      <a:pt x="0" y="15716"/>
                    </a:cubicBezTo>
                    <a:cubicBezTo>
                      <a:pt x="0" y="7144"/>
                      <a:pt x="6667" y="95"/>
                      <a:pt x="16764" y="95"/>
                    </a:cubicBezTo>
                    <a:moveTo>
                      <a:pt x="16669" y="2572"/>
                    </a:moveTo>
                    <a:cubicBezTo>
                      <a:pt x="10668" y="2572"/>
                      <a:pt x="7144" y="8572"/>
                      <a:pt x="7144" y="16097"/>
                    </a:cubicBezTo>
                    <a:cubicBezTo>
                      <a:pt x="7144" y="25432"/>
                      <a:pt x="11430" y="28670"/>
                      <a:pt x="16288" y="28670"/>
                    </a:cubicBezTo>
                    <a:cubicBezTo>
                      <a:pt x="21527" y="28670"/>
                      <a:pt x="26098" y="24289"/>
                      <a:pt x="26098" y="14764"/>
                    </a:cubicBezTo>
                    <a:cubicBezTo>
                      <a:pt x="26098" y="7239"/>
                      <a:pt x="22193" y="2572"/>
                      <a:pt x="16573" y="2572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8" name="Freihandform: Form 486">
                <a:extLst>
                  <a:ext uri="{FF2B5EF4-FFF2-40B4-BE49-F238E27FC236}">
                    <a16:creationId xmlns:a16="http://schemas.microsoft.com/office/drawing/2014/main" id="{12B23F78-6CBE-70A6-3406-1AA278653BC4}"/>
                  </a:ext>
                </a:extLst>
              </p:cNvPr>
              <p:cNvSpPr/>
              <p:nvPr/>
            </p:nvSpPr>
            <p:spPr>
              <a:xfrm>
                <a:off x="56380" y="6783861"/>
                <a:ext cx="7239" cy="30098"/>
              </a:xfrm>
              <a:custGeom>
                <a:avLst/>
                <a:gdLst>
                  <a:gd name="connsiteX0" fmla="*/ 381 w 7239"/>
                  <a:gd name="connsiteY0" fmla="*/ 12097 h 30098"/>
                  <a:gd name="connsiteX1" fmla="*/ 0 w 7239"/>
                  <a:gd name="connsiteY1" fmla="*/ 0 h 30098"/>
                  <a:gd name="connsiteX2" fmla="*/ 3619 w 7239"/>
                  <a:gd name="connsiteY2" fmla="*/ 190 h 30098"/>
                  <a:gd name="connsiteX3" fmla="*/ 7239 w 7239"/>
                  <a:gd name="connsiteY3" fmla="*/ 0 h 30098"/>
                  <a:gd name="connsiteX4" fmla="*/ 6858 w 7239"/>
                  <a:gd name="connsiteY4" fmla="*/ 12097 h 30098"/>
                  <a:gd name="connsiteX5" fmla="*/ 6858 w 7239"/>
                  <a:gd name="connsiteY5" fmla="*/ 18002 h 30098"/>
                  <a:gd name="connsiteX6" fmla="*/ 7239 w 7239"/>
                  <a:gd name="connsiteY6" fmla="*/ 30099 h 30098"/>
                  <a:gd name="connsiteX7" fmla="*/ 3619 w 7239"/>
                  <a:gd name="connsiteY7" fmla="*/ 29908 h 30098"/>
                  <a:gd name="connsiteX8" fmla="*/ 0 w 7239"/>
                  <a:gd name="connsiteY8" fmla="*/ 30099 h 30098"/>
                  <a:gd name="connsiteX9" fmla="*/ 381 w 7239"/>
                  <a:gd name="connsiteY9" fmla="*/ 18002 h 30098"/>
                  <a:gd name="connsiteX10" fmla="*/ 381 w 7239"/>
                  <a:gd name="connsiteY10" fmla="*/ 12097 h 30098"/>
                  <a:gd name="connsiteX11" fmla="*/ 381 w 7239"/>
                  <a:gd name="connsiteY11" fmla="*/ 12097 h 30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239" h="30098">
                    <a:moveTo>
                      <a:pt x="381" y="12097"/>
                    </a:moveTo>
                    <a:cubicBezTo>
                      <a:pt x="381" y="7239"/>
                      <a:pt x="381" y="3810"/>
                      <a:pt x="0" y="0"/>
                    </a:cubicBezTo>
                    <a:cubicBezTo>
                      <a:pt x="953" y="0"/>
                      <a:pt x="2095" y="190"/>
                      <a:pt x="3619" y="190"/>
                    </a:cubicBezTo>
                    <a:cubicBezTo>
                      <a:pt x="5143" y="190"/>
                      <a:pt x="6286" y="95"/>
                      <a:pt x="7239" y="0"/>
                    </a:cubicBezTo>
                    <a:cubicBezTo>
                      <a:pt x="6953" y="3810"/>
                      <a:pt x="6858" y="7239"/>
                      <a:pt x="6858" y="12097"/>
                    </a:cubicBezTo>
                    <a:lnTo>
                      <a:pt x="6858" y="18002"/>
                    </a:lnTo>
                    <a:cubicBezTo>
                      <a:pt x="6858" y="22860"/>
                      <a:pt x="6858" y="26289"/>
                      <a:pt x="7239" y="30099"/>
                    </a:cubicBezTo>
                    <a:cubicBezTo>
                      <a:pt x="6286" y="30099"/>
                      <a:pt x="5143" y="29908"/>
                      <a:pt x="3619" y="29908"/>
                    </a:cubicBezTo>
                    <a:cubicBezTo>
                      <a:pt x="2095" y="29908"/>
                      <a:pt x="953" y="30004"/>
                      <a:pt x="0" y="30099"/>
                    </a:cubicBezTo>
                    <a:cubicBezTo>
                      <a:pt x="286" y="26289"/>
                      <a:pt x="381" y="22860"/>
                      <a:pt x="381" y="18002"/>
                    </a:cubicBezTo>
                    <a:lnTo>
                      <a:pt x="381" y="12097"/>
                    </a:lnTo>
                    <a:lnTo>
                      <a:pt x="381" y="1209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9" name="Freihandform: Form 487">
                <a:extLst>
                  <a:ext uri="{FF2B5EF4-FFF2-40B4-BE49-F238E27FC236}">
                    <a16:creationId xmlns:a16="http://schemas.microsoft.com/office/drawing/2014/main" id="{6BE312E7-BEEE-75A5-8DEC-EFF2A6792356}"/>
                  </a:ext>
                </a:extLst>
              </p:cNvPr>
              <p:cNvSpPr/>
              <p:nvPr/>
            </p:nvSpPr>
            <p:spPr>
              <a:xfrm>
                <a:off x="74478" y="6783861"/>
                <a:ext cx="27051" cy="30098"/>
              </a:xfrm>
              <a:custGeom>
                <a:avLst/>
                <a:gdLst>
                  <a:gd name="connsiteX0" fmla="*/ 381 w 27051"/>
                  <a:gd name="connsiteY0" fmla="*/ 0 h 30098"/>
                  <a:gd name="connsiteX1" fmla="*/ 2381 w 27051"/>
                  <a:gd name="connsiteY1" fmla="*/ 190 h 30098"/>
                  <a:gd name="connsiteX2" fmla="*/ 4381 w 27051"/>
                  <a:gd name="connsiteY2" fmla="*/ 0 h 30098"/>
                  <a:gd name="connsiteX3" fmla="*/ 23336 w 27051"/>
                  <a:gd name="connsiteY3" fmla="*/ 20765 h 30098"/>
                  <a:gd name="connsiteX4" fmla="*/ 23050 w 27051"/>
                  <a:gd name="connsiteY4" fmla="*/ 0 h 30098"/>
                  <a:gd name="connsiteX5" fmla="*/ 25051 w 27051"/>
                  <a:gd name="connsiteY5" fmla="*/ 190 h 30098"/>
                  <a:gd name="connsiteX6" fmla="*/ 27051 w 27051"/>
                  <a:gd name="connsiteY6" fmla="*/ 0 h 30098"/>
                  <a:gd name="connsiteX7" fmla="*/ 26384 w 27051"/>
                  <a:gd name="connsiteY7" fmla="*/ 30099 h 30098"/>
                  <a:gd name="connsiteX8" fmla="*/ 24574 w 27051"/>
                  <a:gd name="connsiteY8" fmla="*/ 29908 h 30098"/>
                  <a:gd name="connsiteX9" fmla="*/ 22860 w 27051"/>
                  <a:gd name="connsiteY9" fmla="*/ 30099 h 30098"/>
                  <a:gd name="connsiteX10" fmla="*/ 3810 w 27051"/>
                  <a:gd name="connsiteY10" fmla="*/ 8858 h 30098"/>
                  <a:gd name="connsiteX11" fmla="*/ 3810 w 27051"/>
                  <a:gd name="connsiteY11" fmla="*/ 19050 h 30098"/>
                  <a:gd name="connsiteX12" fmla="*/ 4096 w 27051"/>
                  <a:gd name="connsiteY12" fmla="*/ 30099 h 30098"/>
                  <a:gd name="connsiteX13" fmla="*/ 2000 w 27051"/>
                  <a:gd name="connsiteY13" fmla="*/ 29908 h 30098"/>
                  <a:gd name="connsiteX14" fmla="*/ 0 w 27051"/>
                  <a:gd name="connsiteY14" fmla="*/ 30099 h 30098"/>
                  <a:gd name="connsiteX15" fmla="*/ 857 w 27051"/>
                  <a:gd name="connsiteY15" fmla="*/ 8668 h 30098"/>
                  <a:gd name="connsiteX16" fmla="*/ 667 w 27051"/>
                  <a:gd name="connsiteY16" fmla="*/ 0 h 30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7051" h="30098">
                    <a:moveTo>
                      <a:pt x="381" y="0"/>
                    </a:moveTo>
                    <a:cubicBezTo>
                      <a:pt x="1048" y="95"/>
                      <a:pt x="1715" y="190"/>
                      <a:pt x="2381" y="190"/>
                    </a:cubicBezTo>
                    <a:cubicBezTo>
                      <a:pt x="3048" y="190"/>
                      <a:pt x="3715" y="190"/>
                      <a:pt x="4381" y="0"/>
                    </a:cubicBezTo>
                    <a:cubicBezTo>
                      <a:pt x="10668" y="6953"/>
                      <a:pt x="16954" y="13811"/>
                      <a:pt x="23336" y="20765"/>
                    </a:cubicBezTo>
                    <a:cubicBezTo>
                      <a:pt x="23336" y="13811"/>
                      <a:pt x="23336" y="1905"/>
                      <a:pt x="23050" y="0"/>
                    </a:cubicBezTo>
                    <a:cubicBezTo>
                      <a:pt x="23717" y="95"/>
                      <a:pt x="24384" y="190"/>
                      <a:pt x="25051" y="190"/>
                    </a:cubicBezTo>
                    <a:cubicBezTo>
                      <a:pt x="25718" y="190"/>
                      <a:pt x="26384" y="190"/>
                      <a:pt x="27051" y="0"/>
                    </a:cubicBezTo>
                    <a:cubicBezTo>
                      <a:pt x="26384" y="12668"/>
                      <a:pt x="26384" y="18479"/>
                      <a:pt x="26384" y="30099"/>
                    </a:cubicBezTo>
                    <a:cubicBezTo>
                      <a:pt x="25813" y="30004"/>
                      <a:pt x="25241" y="29908"/>
                      <a:pt x="24574" y="29908"/>
                    </a:cubicBezTo>
                    <a:cubicBezTo>
                      <a:pt x="23908" y="29908"/>
                      <a:pt x="23431" y="29908"/>
                      <a:pt x="22860" y="30099"/>
                    </a:cubicBezTo>
                    <a:cubicBezTo>
                      <a:pt x="16859" y="23050"/>
                      <a:pt x="10477" y="15907"/>
                      <a:pt x="3810" y="8858"/>
                    </a:cubicBezTo>
                    <a:cubicBezTo>
                      <a:pt x="3810" y="12097"/>
                      <a:pt x="3810" y="15716"/>
                      <a:pt x="3810" y="19050"/>
                    </a:cubicBezTo>
                    <a:cubicBezTo>
                      <a:pt x="3810" y="26003"/>
                      <a:pt x="3905" y="28480"/>
                      <a:pt x="4096" y="30099"/>
                    </a:cubicBezTo>
                    <a:cubicBezTo>
                      <a:pt x="3429" y="30004"/>
                      <a:pt x="2667" y="29908"/>
                      <a:pt x="2000" y="29908"/>
                    </a:cubicBezTo>
                    <a:cubicBezTo>
                      <a:pt x="1333" y="29908"/>
                      <a:pt x="667" y="29908"/>
                      <a:pt x="0" y="30099"/>
                    </a:cubicBezTo>
                    <a:cubicBezTo>
                      <a:pt x="191" y="28861"/>
                      <a:pt x="857" y="17526"/>
                      <a:pt x="857" y="8668"/>
                    </a:cubicBezTo>
                    <a:cubicBezTo>
                      <a:pt x="857" y="4763"/>
                      <a:pt x="667" y="2096"/>
                      <a:pt x="667" y="0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0" name="Freihandform: Form 488">
                <a:extLst>
                  <a:ext uri="{FF2B5EF4-FFF2-40B4-BE49-F238E27FC236}">
                    <a16:creationId xmlns:a16="http://schemas.microsoft.com/office/drawing/2014/main" id="{7C761CC5-357C-D8DB-390E-037938E6E3E1}"/>
                  </a:ext>
                </a:extLst>
              </p:cNvPr>
              <p:cNvSpPr/>
              <p:nvPr/>
            </p:nvSpPr>
            <p:spPr>
              <a:xfrm>
                <a:off x="109149" y="6783956"/>
                <a:ext cx="22479" cy="30098"/>
              </a:xfrm>
              <a:custGeom>
                <a:avLst/>
                <a:gdLst>
                  <a:gd name="connsiteX0" fmla="*/ 8096 w 22479"/>
                  <a:gd name="connsiteY0" fmla="*/ 7048 h 30098"/>
                  <a:gd name="connsiteX1" fmla="*/ 8001 w 22479"/>
                  <a:gd name="connsiteY1" fmla="*/ 3238 h 30098"/>
                  <a:gd name="connsiteX2" fmla="*/ 0 w 22479"/>
                  <a:gd name="connsiteY2" fmla="*/ 3810 h 30098"/>
                  <a:gd name="connsiteX3" fmla="*/ 191 w 22479"/>
                  <a:gd name="connsiteY3" fmla="*/ 1905 h 30098"/>
                  <a:gd name="connsiteX4" fmla="*/ 0 w 22479"/>
                  <a:gd name="connsiteY4" fmla="*/ 0 h 30098"/>
                  <a:gd name="connsiteX5" fmla="*/ 11335 w 22479"/>
                  <a:gd name="connsiteY5" fmla="*/ 190 h 30098"/>
                  <a:gd name="connsiteX6" fmla="*/ 22479 w 22479"/>
                  <a:gd name="connsiteY6" fmla="*/ 0 h 30098"/>
                  <a:gd name="connsiteX7" fmla="*/ 22289 w 22479"/>
                  <a:gd name="connsiteY7" fmla="*/ 1905 h 30098"/>
                  <a:gd name="connsiteX8" fmla="*/ 22479 w 22479"/>
                  <a:gd name="connsiteY8" fmla="*/ 3810 h 30098"/>
                  <a:gd name="connsiteX9" fmla="*/ 14669 w 22479"/>
                  <a:gd name="connsiteY9" fmla="*/ 3238 h 30098"/>
                  <a:gd name="connsiteX10" fmla="*/ 14669 w 22479"/>
                  <a:gd name="connsiteY10" fmla="*/ 7048 h 30098"/>
                  <a:gd name="connsiteX11" fmla="*/ 14669 w 22479"/>
                  <a:gd name="connsiteY11" fmla="*/ 18002 h 30098"/>
                  <a:gd name="connsiteX12" fmla="*/ 15050 w 22479"/>
                  <a:gd name="connsiteY12" fmla="*/ 30099 h 30098"/>
                  <a:gd name="connsiteX13" fmla="*/ 11430 w 22479"/>
                  <a:gd name="connsiteY13" fmla="*/ 29908 h 30098"/>
                  <a:gd name="connsiteX14" fmla="*/ 7810 w 22479"/>
                  <a:gd name="connsiteY14" fmla="*/ 30099 h 30098"/>
                  <a:gd name="connsiteX15" fmla="*/ 8192 w 22479"/>
                  <a:gd name="connsiteY15" fmla="*/ 18002 h 30098"/>
                  <a:gd name="connsiteX16" fmla="*/ 8192 w 22479"/>
                  <a:gd name="connsiteY16" fmla="*/ 7048 h 30098"/>
                  <a:gd name="connsiteX17" fmla="*/ 8192 w 22479"/>
                  <a:gd name="connsiteY17" fmla="*/ 7048 h 30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479" h="30098">
                    <a:moveTo>
                      <a:pt x="8096" y="7048"/>
                    </a:moveTo>
                    <a:cubicBezTo>
                      <a:pt x="8096" y="5429"/>
                      <a:pt x="8096" y="3810"/>
                      <a:pt x="8001" y="3238"/>
                    </a:cubicBezTo>
                    <a:cubicBezTo>
                      <a:pt x="6286" y="3238"/>
                      <a:pt x="2667" y="3524"/>
                      <a:pt x="0" y="3810"/>
                    </a:cubicBezTo>
                    <a:cubicBezTo>
                      <a:pt x="95" y="3143"/>
                      <a:pt x="191" y="2572"/>
                      <a:pt x="191" y="1905"/>
                    </a:cubicBezTo>
                    <a:cubicBezTo>
                      <a:pt x="191" y="1238"/>
                      <a:pt x="191" y="667"/>
                      <a:pt x="0" y="0"/>
                    </a:cubicBezTo>
                    <a:cubicBezTo>
                      <a:pt x="4001" y="95"/>
                      <a:pt x="5905" y="190"/>
                      <a:pt x="11335" y="190"/>
                    </a:cubicBezTo>
                    <a:cubicBezTo>
                      <a:pt x="16764" y="190"/>
                      <a:pt x="18764" y="190"/>
                      <a:pt x="22479" y="0"/>
                    </a:cubicBezTo>
                    <a:cubicBezTo>
                      <a:pt x="22384" y="667"/>
                      <a:pt x="22289" y="1238"/>
                      <a:pt x="22289" y="1905"/>
                    </a:cubicBezTo>
                    <a:cubicBezTo>
                      <a:pt x="22289" y="2572"/>
                      <a:pt x="22289" y="3143"/>
                      <a:pt x="22479" y="3810"/>
                    </a:cubicBezTo>
                    <a:cubicBezTo>
                      <a:pt x="20098" y="3524"/>
                      <a:pt x="16478" y="3238"/>
                      <a:pt x="14669" y="3238"/>
                    </a:cubicBezTo>
                    <a:cubicBezTo>
                      <a:pt x="14669" y="3810"/>
                      <a:pt x="14669" y="5429"/>
                      <a:pt x="14669" y="7048"/>
                    </a:cubicBezTo>
                    <a:lnTo>
                      <a:pt x="14669" y="18002"/>
                    </a:lnTo>
                    <a:cubicBezTo>
                      <a:pt x="14669" y="22860"/>
                      <a:pt x="14669" y="26289"/>
                      <a:pt x="15050" y="30099"/>
                    </a:cubicBezTo>
                    <a:cubicBezTo>
                      <a:pt x="14097" y="30099"/>
                      <a:pt x="12954" y="29908"/>
                      <a:pt x="11430" y="29908"/>
                    </a:cubicBezTo>
                    <a:cubicBezTo>
                      <a:pt x="9906" y="29908"/>
                      <a:pt x="8763" y="30004"/>
                      <a:pt x="7810" y="30099"/>
                    </a:cubicBezTo>
                    <a:cubicBezTo>
                      <a:pt x="8096" y="26289"/>
                      <a:pt x="8192" y="22860"/>
                      <a:pt x="8192" y="18002"/>
                    </a:cubicBezTo>
                    <a:lnTo>
                      <a:pt x="8192" y="7048"/>
                    </a:lnTo>
                    <a:lnTo>
                      <a:pt x="8192" y="704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1" name="Freihandform: Form 489">
                <a:extLst>
                  <a:ext uri="{FF2B5EF4-FFF2-40B4-BE49-F238E27FC236}">
                    <a16:creationId xmlns:a16="http://schemas.microsoft.com/office/drawing/2014/main" id="{793AB8C0-4998-B2DD-1FF9-DA0B9339EF72}"/>
                  </a:ext>
                </a:extLst>
              </p:cNvPr>
              <p:cNvSpPr/>
              <p:nvPr/>
            </p:nvSpPr>
            <p:spPr>
              <a:xfrm>
                <a:off x="137533" y="6783861"/>
                <a:ext cx="35718" cy="30098"/>
              </a:xfrm>
              <a:custGeom>
                <a:avLst/>
                <a:gdLst>
                  <a:gd name="connsiteX0" fmla="*/ 5906 w 35718"/>
                  <a:gd name="connsiteY0" fmla="*/ 10287 h 30098"/>
                  <a:gd name="connsiteX1" fmla="*/ 4191 w 35718"/>
                  <a:gd name="connsiteY1" fmla="*/ 30099 h 30098"/>
                  <a:gd name="connsiteX2" fmla="*/ 2096 w 35718"/>
                  <a:gd name="connsiteY2" fmla="*/ 29908 h 30098"/>
                  <a:gd name="connsiteX3" fmla="*/ 0 w 35718"/>
                  <a:gd name="connsiteY3" fmla="*/ 30099 h 30098"/>
                  <a:gd name="connsiteX4" fmla="*/ 4477 w 35718"/>
                  <a:gd name="connsiteY4" fmla="*/ 0 h 30098"/>
                  <a:gd name="connsiteX5" fmla="*/ 6286 w 35718"/>
                  <a:gd name="connsiteY5" fmla="*/ 190 h 30098"/>
                  <a:gd name="connsiteX6" fmla="*/ 8001 w 35718"/>
                  <a:gd name="connsiteY6" fmla="*/ 0 h 30098"/>
                  <a:gd name="connsiteX7" fmla="*/ 18098 w 35718"/>
                  <a:gd name="connsiteY7" fmla="*/ 20860 h 30098"/>
                  <a:gd name="connsiteX8" fmla="*/ 28289 w 35718"/>
                  <a:gd name="connsiteY8" fmla="*/ 0 h 30098"/>
                  <a:gd name="connsiteX9" fmla="*/ 30194 w 35718"/>
                  <a:gd name="connsiteY9" fmla="*/ 190 h 30098"/>
                  <a:gd name="connsiteX10" fmla="*/ 32004 w 35718"/>
                  <a:gd name="connsiteY10" fmla="*/ 0 h 30098"/>
                  <a:gd name="connsiteX11" fmla="*/ 35719 w 35718"/>
                  <a:gd name="connsiteY11" fmla="*/ 30099 h 30098"/>
                  <a:gd name="connsiteX12" fmla="*/ 32195 w 35718"/>
                  <a:gd name="connsiteY12" fmla="*/ 29908 h 30098"/>
                  <a:gd name="connsiteX13" fmla="*/ 28575 w 35718"/>
                  <a:gd name="connsiteY13" fmla="*/ 30099 h 30098"/>
                  <a:gd name="connsiteX14" fmla="*/ 26860 w 35718"/>
                  <a:gd name="connsiteY14" fmla="*/ 9811 h 30098"/>
                  <a:gd name="connsiteX15" fmla="*/ 26860 w 35718"/>
                  <a:gd name="connsiteY15" fmla="*/ 9811 h 30098"/>
                  <a:gd name="connsiteX16" fmla="*/ 17240 w 35718"/>
                  <a:gd name="connsiteY16" fmla="*/ 30099 h 30098"/>
                  <a:gd name="connsiteX17" fmla="*/ 16383 w 35718"/>
                  <a:gd name="connsiteY17" fmla="*/ 30099 h 30098"/>
                  <a:gd name="connsiteX18" fmla="*/ 15526 w 35718"/>
                  <a:gd name="connsiteY18" fmla="*/ 30099 h 30098"/>
                  <a:gd name="connsiteX19" fmla="*/ 6001 w 35718"/>
                  <a:gd name="connsiteY19" fmla="*/ 10287 h 30098"/>
                  <a:gd name="connsiteX20" fmla="*/ 6001 w 35718"/>
                  <a:gd name="connsiteY20" fmla="*/ 10287 h 30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5718" h="30098">
                    <a:moveTo>
                      <a:pt x="5906" y="10287"/>
                    </a:moveTo>
                    <a:cubicBezTo>
                      <a:pt x="4953" y="16859"/>
                      <a:pt x="4572" y="23527"/>
                      <a:pt x="4191" y="30099"/>
                    </a:cubicBezTo>
                    <a:cubicBezTo>
                      <a:pt x="3524" y="30004"/>
                      <a:pt x="2762" y="29908"/>
                      <a:pt x="2096" y="29908"/>
                    </a:cubicBezTo>
                    <a:cubicBezTo>
                      <a:pt x="1429" y="29908"/>
                      <a:pt x="762" y="29908"/>
                      <a:pt x="0" y="30099"/>
                    </a:cubicBezTo>
                    <a:cubicBezTo>
                      <a:pt x="1810" y="20002"/>
                      <a:pt x="3239" y="10001"/>
                      <a:pt x="4477" y="0"/>
                    </a:cubicBezTo>
                    <a:cubicBezTo>
                      <a:pt x="5048" y="95"/>
                      <a:pt x="5620" y="190"/>
                      <a:pt x="6286" y="190"/>
                    </a:cubicBezTo>
                    <a:cubicBezTo>
                      <a:pt x="6858" y="190"/>
                      <a:pt x="7430" y="190"/>
                      <a:pt x="8001" y="0"/>
                    </a:cubicBezTo>
                    <a:cubicBezTo>
                      <a:pt x="11144" y="6953"/>
                      <a:pt x="14859" y="14764"/>
                      <a:pt x="18098" y="20860"/>
                    </a:cubicBezTo>
                    <a:cubicBezTo>
                      <a:pt x="21527" y="14383"/>
                      <a:pt x="25146" y="6953"/>
                      <a:pt x="28289" y="0"/>
                    </a:cubicBezTo>
                    <a:cubicBezTo>
                      <a:pt x="28861" y="95"/>
                      <a:pt x="29528" y="190"/>
                      <a:pt x="30194" y="190"/>
                    </a:cubicBezTo>
                    <a:cubicBezTo>
                      <a:pt x="30861" y="190"/>
                      <a:pt x="31432" y="190"/>
                      <a:pt x="32004" y="0"/>
                    </a:cubicBezTo>
                    <a:cubicBezTo>
                      <a:pt x="33147" y="10096"/>
                      <a:pt x="34671" y="24003"/>
                      <a:pt x="35719" y="30099"/>
                    </a:cubicBezTo>
                    <a:cubicBezTo>
                      <a:pt x="34576" y="30004"/>
                      <a:pt x="33338" y="29908"/>
                      <a:pt x="32195" y="29908"/>
                    </a:cubicBezTo>
                    <a:cubicBezTo>
                      <a:pt x="31052" y="29908"/>
                      <a:pt x="29813" y="29908"/>
                      <a:pt x="28575" y="30099"/>
                    </a:cubicBezTo>
                    <a:cubicBezTo>
                      <a:pt x="28289" y="24003"/>
                      <a:pt x="27527" y="16573"/>
                      <a:pt x="26860" y="9811"/>
                    </a:cubicBezTo>
                    <a:lnTo>
                      <a:pt x="26860" y="9811"/>
                    </a:lnTo>
                    <a:cubicBezTo>
                      <a:pt x="23622" y="16573"/>
                      <a:pt x="20383" y="23336"/>
                      <a:pt x="17240" y="30099"/>
                    </a:cubicBezTo>
                    <a:cubicBezTo>
                      <a:pt x="16955" y="30099"/>
                      <a:pt x="16669" y="30099"/>
                      <a:pt x="16383" y="30099"/>
                    </a:cubicBezTo>
                    <a:cubicBezTo>
                      <a:pt x="16097" y="30099"/>
                      <a:pt x="15811" y="30099"/>
                      <a:pt x="15526" y="30099"/>
                    </a:cubicBezTo>
                    <a:cubicBezTo>
                      <a:pt x="12382" y="23527"/>
                      <a:pt x="9239" y="16859"/>
                      <a:pt x="6001" y="10287"/>
                    </a:cubicBezTo>
                    <a:lnTo>
                      <a:pt x="6001" y="1028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2" name="Freihandform: Form 490">
                <a:extLst>
                  <a:ext uri="{FF2B5EF4-FFF2-40B4-BE49-F238E27FC236}">
                    <a16:creationId xmlns:a16="http://schemas.microsoft.com/office/drawing/2014/main" id="{A0A5810E-AD90-DC4F-B2C8-B35E0957400D}"/>
                  </a:ext>
                </a:extLst>
              </p:cNvPr>
              <p:cNvSpPr/>
              <p:nvPr/>
            </p:nvSpPr>
            <p:spPr>
              <a:xfrm>
                <a:off x="181443" y="6783861"/>
                <a:ext cx="16954" cy="30194"/>
              </a:xfrm>
              <a:custGeom>
                <a:avLst/>
                <a:gdLst>
                  <a:gd name="connsiteX0" fmla="*/ 381 w 16954"/>
                  <a:gd name="connsiteY0" fmla="*/ 12097 h 30194"/>
                  <a:gd name="connsiteX1" fmla="*/ 0 w 16954"/>
                  <a:gd name="connsiteY1" fmla="*/ 0 h 30194"/>
                  <a:gd name="connsiteX2" fmla="*/ 7810 w 16954"/>
                  <a:gd name="connsiteY2" fmla="*/ 190 h 30194"/>
                  <a:gd name="connsiteX3" fmla="*/ 16954 w 16954"/>
                  <a:gd name="connsiteY3" fmla="*/ 0 h 30194"/>
                  <a:gd name="connsiteX4" fmla="*/ 16764 w 16954"/>
                  <a:gd name="connsiteY4" fmla="*/ 1810 h 30194"/>
                  <a:gd name="connsiteX5" fmla="*/ 16954 w 16954"/>
                  <a:gd name="connsiteY5" fmla="*/ 3810 h 30194"/>
                  <a:gd name="connsiteX6" fmla="*/ 7049 w 16954"/>
                  <a:gd name="connsiteY6" fmla="*/ 3238 h 30194"/>
                  <a:gd name="connsiteX7" fmla="*/ 6858 w 16954"/>
                  <a:gd name="connsiteY7" fmla="*/ 12763 h 30194"/>
                  <a:gd name="connsiteX8" fmla="*/ 16764 w 16954"/>
                  <a:gd name="connsiteY8" fmla="*/ 12383 h 30194"/>
                  <a:gd name="connsiteX9" fmla="*/ 16574 w 16954"/>
                  <a:gd name="connsiteY9" fmla="*/ 14383 h 30194"/>
                  <a:gd name="connsiteX10" fmla="*/ 16764 w 16954"/>
                  <a:gd name="connsiteY10" fmla="*/ 16192 h 30194"/>
                  <a:gd name="connsiteX11" fmla="*/ 6858 w 16954"/>
                  <a:gd name="connsiteY11" fmla="*/ 15811 h 30194"/>
                  <a:gd name="connsiteX12" fmla="*/ 6858 w 16954"/>
                  <a:gd name="connsiteY12" fmla="*/ 21431 h 30194"/>
                  <a:gd name="connsiteX13" fmla="*/ 6953 w 16954"/>
                  <a:gd name="connsiteY13" fmla="*/ 26860 h 30194"/>
                  <a:gd name="connsiteX14" fmla="*/ 16954 w 16954"/>
                  <a:gd name="connsiteY14" fmla="*/ 26289 h 30194"/>
                  <a:gd name="connsiteX15" fmla="*/ 16764 w 16954"/>
                  <a:gd name="connsiteY15" fmla="*/ 28289 h 30194"/>
                  <a:gd name="connsiteX16" fmla="*/ 16954 w 16954"/>
                  <a:gd name="connsiteY16" fmla="*/ 30194 h 30194"/>
                  <a:gd name="connsiteX17" fmla="*/ 9334 w 16954"/>
                  <a:gd name="connsiteY17" fmla="*/ 30004 h 30194"/>
                  <a:gd name="connsiteX18" fmla="*/ 95 w 16954"/>
                  <a:gd name="connsiteY18" fmla="*/ 30194 h 30194"/>
                  <a:gd name="connsiteX19" fmla="*/ 476 w 16954"/>
                  <a:gd name="connsiteY19" fmla="*/ 18098 h 30194"/>
                  <a:gd name="connsiteX20" fmla="*/ 476 w 16954"/>
                  <a:gd name="connsiteY20" fmla="*/ 12192 h 30194"/>
                  <a:gd name="connsiteX21" fmla="*/ 476 w 16954"/>
                  <a:gd name="connsiteY21" fmla="*/ 12192 h 30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6954" h="30194">
                    <a:moveTo>
                      <a:pt x="381" y="12097"/>
                    </a:moveTo>
                    <a:cubicBezTo>
                      <a:pt x="381" y="7239"/>
                      <a:pt x="381" y="3810"/>
                      <a:pt x="0" y="0"/>
                    </a:cubicBezTo>
                    <a:cubicBezTo>
                      <a:pt x="2572" y="0"/>
                      <a:pt x="5239" y="190"/>
                      <a:pt x="7810" y="190"/>
                    </a:cubicBezTo>
                    <a:cubicBezTo>
                      <a:pt x="12097" y="190"/>
                      <a:pt x="15716" y="190"/>
                      <a:pt x="16954" y="0"/>
                    </a:cubicBezTo>
                    <a:cubicBezTo>
                      <a:pt x="16954" y="476"/>
                      <a:pt x="16764" y="1048"/>
                      <a:pt x="16764" y="1810"/>
                    </a:cubicBezTo>
                    <a:cubicBezTo>
                      <a:pt x="16764" y="2762"/>
                      <a:pt x="16764" y="3143"/>
                      <a:pt x="16954" y="3810"/>
                    </a:cubicBezTo>
                    <a:cubicBezTo>
                      <a:pt x="13621" y="3619"/>
                      <a:pt x="8382" y="3238"/>
                      <a:pt x="7049" y="3238"/>
                    </a:cubicBezTo>
                    <a:cubicBezTo>
                      <a:pt x="6858" y="6382"/>
                      <a:pt x="6858" y="9620"/>
                      <a:pt x="6858" y="12763"/>
                    </a:cubicBezTo>
                    <a:cubicBezTo>
                      <a:pt x="10668" y="12763"/>
                      <a:pt x="13430" y="12573"/>
                      <a:pt x="16764" y="12383"/>
                    </a:cubicBezTo>
                    <a:cubicBezTo>
                      <a:pt x="16574" y="13430"/>
                      <a:pt x="16574" y="13811"/>
                      <a:pt x="16574" y="14383"/>
                    </a:cubicBezTo>
                    <a:cubicBezTo>
                      <a:pt x="16574" y="14859"/>
                      <a:pt x="16574" y="15240"/>
                      <a:pt x="16764" y="16192"/>
                    </a:cubicBezTo>
                    <a:cubicBezTo>
                      <a:pt x="13430" y="15907"/>
                      <a:pt x="10192" y="15811"/>
                      <a:pt x="6858" y="15811"/>
                    </a:cubicBezTo>
                    <a:cubicBezTo>
                      <a:pt x="6858" y="17621"/>
                      <a:pt x="6858" y="19526"/>
                      <a:pt x="6858" y="21431"/>
                    </a:cubicBezTo>
                    <a:cubicBezTo>
                      <a:pt x="6858" y="23336"/>
                      <a:pt x="6858" y="25146"/>
                      <a:pt x="6953" y="26860"/>
                    </a:cubicBezTo>
                    <a:cubicBezTo>
                      <a:pt x="10192" y="26860"/>
                      <a:pt x="13621" y="26670"/>
                      <a:pt x="16954" y="26289"/>
                    </a:cubicBezTo>
                    <a:cubicBezTo>
                      <a:pt x="16954" y="26860"/>
                      <a:pt x="16764" y="27337"/>
                      <a:pt x="16764" y="28289"/>
                    </a:cubicBezTo>
                    <a:cubicBezTo>
                      <a:pt x="16764" y="29242"/>
                      <a:pt x="16764" y="29623"/>
                      <a:pt x="16954" y="30194"/>
                    </a:cubicBezTo>
                    <a:cubicBezTo>
                      <a:pt x="15430" y="30194"/>
                      <a:pt x="13335" y="30004"/>
                      <a:pt x="9334" y="30004"/>
                    </a:cubicBezTo>
                    <a:cubicBezTo>
                      <a:pt x="2191" y="30004"/>
                      <a:pt x="1048" y="30099"/>
                      <a:pt x="95" y="30194"/>
                    </a:cubicBezTo>
                    <a:cubicBezTo>
                      <a:pt x="381" y="26384"/>
                      <a:pt x="476" y="22955"/>
                      <a:pt x="476" y="18098"/>
                    </a:cubicBezTo>
                    <a:lnTo>
                      <a:pt x="476" y="12192"/>
                    </a:lnTo>
                    <a:lnTo>
                      <a:pt x="476" y="1219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3" name="Freihandform: Form 491">
                <a:extLst>
                  <a:ext uri="{FF2B5EF4-FFF2-40B4-BE49-F238E27FC236}">
                    <a16:creationId xmlns:a16="http://schemas.microsoft.com/office/drawing/2014/main" id="{6B81AC94-89F6-1098-556B-A56DF799F6B3}"/>
                  </a:ext>
                </a:extLst>
              </p:cNvPr>
              <p:cNvSpPr/>
              <p:nvPr/>
            </p:nvSpPr>
            <p:spPr>
              <a:xfrm>
                <a:off x="207352" y="6783861"/>
                <a:ext cx="27051" cy="30098"/>
              </a:xfrm>
              <a:custGeom>
                <a:avLst/>
                <a:gdLst>
                  <a:gd name="connsiteX0" fmla="*/ 381 w 27051"/>
                  <a:gd name="connsiteY0" fmla="*/ 0 h 30098"/>
                  <a:gd name="connsiteX1" fmla="*/ 2381 w 27051"/>
                  <a:gd name="connsiteY1" fmla="*/ 190 h 30098"/>
                  <a:gd name="connsiteX2" fmla="*/ 4381 w 27051"/>
                  <a:gd name="connsiteY2" fmla="*/ 0 h 30098"/>
                  <a:gd name="connsiteX3" fmla="*/ 23336 w 27051"/>
                  <a:gd name="connsiteY3" fmla="*/ 20765 h 30098"/>
                  <a:gd name="connsiteX4" fmla="*/ 23050 w 27051"/>
                  <a:gd name="connsiteY4" fmla="*/ 0 h 30098"/>
                  <a:gd name="connsiteX5" fmla="*/ 25051 w 27051"/>
                  <a:gd name="connsiteY5" fmla="*/ 190 h 30098"/>
                  <a:gd name="connsiteX6" fmla="*/ 27051 w 27051"/>
                  <a:gd name="connsiteY6" fmla="*/ 0 h 30098"/>
                  <a:gd name="connsiteX7" fmla="*/ 26384 w 27051"/>
                  <a:gd name="connsiteY7" fmla="*/ 30099 h 30098"/>
                  <a:gd name="connsiteX8" fmla="*/ 24574 w 27051"/>
                  <a:gd name="connsiteY8" fmla="*/ 29908 h 30098"/>
                  <a:gd name="connsiteX9" fmla="*/ 22860 w 27051"/>
                  <a:gd name="connsiteY9" fmla="*/ 30099 h 30098"/>
                  <a:gd name="connsiteX10" fmla="*/ 3810 w 27051"/>
                  <a:gd name="connsiteY10" fmla="*/ 8858 h 30098"/>
                  <a:gd name="connsiteX11" fmla="*/ 3810 w 27051"/>
                  <a:gd name="connsiteY11" fmla="*/ 19050 h 30098"/>
                  <a:gd name="connsiteX12" fmla="*/ 4096 w 27051"/>
                  <a:gd name="connsiteY12" fmla="*/ 30099 h 30098"/>
                  <a:gd name="connsiteX13" fmla="*/ 2000 w 27051"/>
                  <a:gd name="connsiteY13" fmla="*/ 29908 h 30098"/>
                  <a:gd name="connsiteX14" fmla="*/ 0 w 27051"/>
                  <a:gd name="connsiteY14" fmla="*/ 30099 h 30098"/>
                  <a:gd name="connsiteX15" fmla="*/ 857 w 27051"/>
                  <a:gd name="connsiteY15" fmla="*/ 8668 h 30098"/>
                  <a:gd name="connsiteX16" fmla="*/ 667 w 27051"/>
                  <a:gd name="connsiteY16" fmla="*/ 0 h 30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7051" h="30098">
                    <a:moveTo>
                      <a:pt x="381" y="0"/>
                    </a:moveTo>
                    <a:cubicBezTo>
                      <a:pt x="1048" y="95"/>
                      <a:pt x="1715" y="190"/>
                      <a:pt x="2381" y="190"/>
                    </a:cubicBezTo>
                    <a:cubicBezTo>
                      <a:pt x="3048" y="190"/>
                      <a:pt x="3715" y="190"/>
                      <a:pt x="4381" y="0"/>
                    </a:cubicBezTo>
                    <a:cubicBezTo>
                      <a:pt x="10668" y="6953"/>
                      <a:pt x="16954" y="13811"/>
                      <a:pt x="23336" y="20765"/>
                    </a:cubicBezTo>
                    <a:cubicBezTo>
                      <a:pt x="23336" y="13811"/>
                      <a:pt x="23336" y="1905"/>
                      <a:pt x="23050" y="0"/>
                    </a:cubicBezTo>
                    <a:cubicBezTo>
                      <a:pt x="23717" y="95"/>
                      <a:pt x="24384" y="190"/>
                      <a:pt x="25051" y="190"/>
                    </a:cubicBezTo>
                    <a:cubicBezTo>
                      <a:pt x="25718" y="190"/>
                      <a:pt x="26384" y="190"/>
                      <a:pt x="27051" y="0"/>
                    </a:cubicBezTo>
                    <a:cubicBezTo>
                      <a:pt x="26384" y="12668"/>
                      <a:pt x="26384" y="18479"/>
                      <a:pt x="26384" y="30099"/>
                    </a:cubicBezTo>
                    <a:cubicBezTo>
                      <a:pt x="25813" y="30004"/>
                      <a:pt x="25241" y="29908"/>
                      <a:pt x="24574" y="29908"/>
                    </a:cubicBezTo>
                    <a:cubicBezTo>
                      <a:pt x="23908" y="29908"/>
                      <a:pt x="23431" y="29908"/>
                      <a:pt x="22860" y="30099"/>
                    </a:cubicBezTo>
                    <a:cubicBezTo>
                      <a:pt x="16859" y="23050"/>
                      <a:pt x="10477" y="15907"/>
                      <a:pt x="3810" y="8858"/>
                    </a:cubicBezTo>
                    <a:cubicBezTo>
                      <a:pt x="3810" y="12097"/>
                      <a:pt x="3810" y="15716"/>
                      <a:pt x="3810" y="19050"/>
                    </a:cubicBezTo>
                    <a:cubicBezTo>
                      <a:pt x="3810" y="26003"/>
                      <a:pt x="3905" y="28480"/>
                      <a:pt x="4096" y="30099"/>
                    </a:cubicBezTo>
                    <a:cubicBezTo>
                      <a:pt x="3429" y="30004"/>
                      <a:pt x="2667" y="29908"/>
                      <a:pt x="2000" y="29908"/>
                    </a:cubicBezTo>
                    <a:cubicBezTo>
                      <a:pt x="1333" y="29908"/>
                      <a:pt x="667" y="29908"/>
                      <a:pt x="0" y="30099"/>
                    </a:cubicBezTo>
                    <a:cubicBezTo>
                      <a:pt x="191" y="28861"/>
                      <a:pt x="857" y="17526"/>
                      <a:pt x="857" y="8668"/>
                    </a:cubicBezTo>
                    <a:cubicBezTo>
                      <a:pt x="857" y="4763"/>
                      <a:pt x="667" y="2096"/>
                      <a:pt x="667" y="0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4" name="Freihandform: Form 492">
                <a:extLst>
                  <a:ext uri="{FF2B5EF4-FFF2-40B4-BE49-F238E27FC236}">
                    <a16:creationId xmlns:a16="http://schemas.microsoft.com/office/drawing/2014/main" id="{7A4D9855-FE86-D6A2-2128-7A839729DFAB}"/>
                  </a:ext>
                </a:extLst>
              </p:cNvPr>
              <p:cNvSpPr/>
              <p:nvPr/>
            </p:nvSpPr>
            <p:spPr>
              <a:xfrm>
                <a:off x="242118" y="6783956"/>
                <a:ext cx="22479" cy="30098"/>
              </a:xfrm>
              <a:custGeom>
                <a:avLst/>
                <a:gdLst>
                  <a:gd name="connsiteX0" fmla="*/ 8096 w 22479"/>
                  <a:gd name="connsiteY0" fmla="*/ 7048 h 30098"/>
                  <a:gd name="connsiteX1" fmla="*/ 8001 w 22479"/>
                  <a:gd name="connsiteY1" fmla="*/ 3238 h 30098"/>
                  <a:gd name="connsiteX2" fmla="*/ 0 w 22479"/>
                  <a:gd name="connsiteY2" fmla="*/ 3810 h 30098"/>
                  <a:gd name="connsiteX3" fmla="*/ 191 w 22479"/>
                  <a:gd name="connsiteY3" fmla="*/ 1905 h 30098"/>
                  <a:gd name="connsiteX4" fmla="*/ 0 w 22479"/>
                  <a:gd name="connsiteY4" fmla="*/ 0 h 30098"/>
                  <a:gd name="connsiteX5" fmla="*/ 11335 w 22479"/>
                  <a:gd name="connsiteY5" fmla="*/ 190 h 30098"/>
                  <a:gd name="connsiteX6" fmla="*/ 22479 w 22479"/>
                  <a:gd name="connsiteY6" fmla="*/ 0 h 30098"/>
                  <a:gd name="connsiteX7" fmla="*/ 22289 w 22479"/>
                  <a:gd name="connsiteY7" fmla="*/ 1905 h 30098"/>
                  <a:gd name="connsiteX8" fmla="*/ 22479 w 22479"/>
                  <a:gd name="connsiteY8" fmla="*/ 3810 h 30098"/>
                  <a:gd name="connsiteX9" fmla="*/ 14669 w 22479"/>
                  <a:gd name="connsiteY9" fmla="*/ 3238 h 30098"/>
                  <a:gd name="connsiteX10" fmla="*/ 14669 w 22479"/>
                  <a:gd name="connsiteY10" fmla="*/ 7048 h 30098"/>
                  <a:gd name="connsiteX11" fmla="*/ 14669 w 22479"/>
                  <a:gd name="connsiteY11" fmla="*/ 18002 h 30098"/>
                  <a:gd name="connsiteX12" fmla="*/ 15050 w 22479"/>
                  <a:gd name="connsiteY12" fmla="*/ 30099 h 30098"/>
                  <a:gd name="connsiteX13" fmla="*/ 11430 w 22479"/>
                  <a:gd name="connsiteY13" fmla="*/ 29908 h 30098"/>
                  <a:gd name="connsiteX14" fmla="*/ 7810 w 22479"/>
                  <a:gd name="connsiteY14" fmla="*/ 30099 h 30098"/>
                  <a:gd name="connsiteX15" fmla="*/ 8192 w 22479"/>
                  <a:gd name="connsiteY15" fmla="*/ 18002 h 30098"/>
                  <a:gd name="connsiteX16" fmla="*/ 8192 w 22479"/>
                  <a:gd name="connsiteY16" fmla="*/ 7048 h 30098"/>
                  <a:gd name="connsiteX17" fmla="*/ 8192 w 22479"/>
                  <a:gd name="connsiteY17" fmla="*/ 7048 h 30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479" h="30098">
                    <a:moveTo>
                      <a:pt x="8096" y="7048"/>
                    </a:moveTo>
                    <a:cubicBezTo>
                      <a:pt x="8096" y="5429"/>
                      <a:pt x="8096" y="3810"/>
                      <a:pt x="8001" y="3238"/>
                    </a:cubicBezTo>
                    <a:cubicBezTo>
                      <a:pt x="6286" y="3238"/>
                      <a:pt x="2667" y="3524"/>
                      <a:pt x="0" y="3810"/>
                    </a:cubicBezTo>
                    <a:cubicBezTo>
                      <a:pt x="95" y="3143"/>
                      <a:pt x="191" y="2572"/>
                      <a:pt x="191" y="1905"/>
                    </a:cubicBezTo>
                    <a:cubicBezTo>
                      <a:pt x="191" y="1238"/>
                      <a:pt x="191" y="667"/>
                      <a:pt x="0" y="0"/>
                    </a:cubicBezTo>
                    <a:cubicBezTo>
                      <a:pt x="4001" y="95"/>
                      <a:pt x="5906" y="190"/>
                      <a:pt x="11335" y="190"/>
                    </a:cubicBezTo>
                    <a:cubicBezTo>
                      <a:pt x="16764" y="190"/>
                      <a:pt x="18764" y="190"/>
                      <a:pt x="22479" y="0"/>
                    </a:cubicBezTo>
                    <a:cubicBezTo>
                      <a:pt x="22384" y="667"/>
                      <a:pt x="22289" y="1238"/>
                      <a:pt x="22289" y="1905"/>
                    </a:cubicBezTo>
                    <a:cubicBezTo>
                      <a:pt x="22289" y="2572"/>
                      <a:pt x="22289" y="3143"/>
                      <a:pt x="22479" y="3810"/>
                    </a:cubicBezTo>
                    <a:cubicBezTo>
                      <a:pt x="20098" y="3524"/>
                      <a:pt x="16478" y="3238"/>
                      <a:pt x="14669" y="3238"/>
                    </a:cubicBezTo>
                    <a:cubicBezTo>
                      <a:pt x="14669" y="3810"/>
                      <a:pt x="14669" y="5429"/>
                      <a:pt x="14669" y="7048"/>
                    </a:cubicBezTo>
                    <a:lnTo>
                      <a:pt x="14669" y="18002"/>
                    </a:lnTo>
                    <a:cubicBezTo>
                      <a:pt x="14669" y="22860"/>
                      <a:pt x="14669" y="26289"/>
                      <a:pt x="15050" y="30099"/>
                    </a:cubicBezTo>
                    <a:cubicBezTo>
                      <a:pt x="14097" y="30099"/>
                      <a:pt x="12954" y="29908"/>
                      <a:pt x="11430" y="29908"/>
                    </a:cubicBezTo>
                    <a:cubicBezTo>
                      <a:pt x="9906" y="29908"/>
                      <a:pt x="8763" y="30004"/>
                      <a:pt x="7810" y="30099"/>
                    </a:cubicBezTo>
                    <a:cubicBezTo>
                      <a:pt x="8096" y="26289"/>
                      <a:pt x="8192" y="22860"/>
                      <a:pt x="8192" y="18002"/>
                    </a:cubicBezTo>
                    <a:lnTo>
                      <a:pt x="8192" y="7048"/>
                    </a:lnTo>
                    <a:lnTo>
                      <a:pt x="8192" y="704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5F823B64-6CA9-324C-E4F8-C83CE6185244}"/>
                </a:ext>
              </a:extLst>
            </p:cNvPr>
            <p:cNvGrpSpPr/>
            <p:nvPr/>
          </p:nvGrpSpPr>
          <p:grpSpPr>
            <a:xfrm>
              <a:off x="1438744" y="6609172"/>
              <a:ext cx="569498" cy="126112"/>
              <a:chOff x="1438744" y="6609172"/>
              <a:chExt cx="569498" cy="126112"/>
            </a:xfrm>
          </p:grpSpPr>
          <p:sp>
            <p:nvSpPr>
              <p:cNvPr id="1038" name="Freihandform: Form 466">
                <a:extLst>
                  <a:ext uri="{FF2B5EF4-FFF2-40B4-BE49-F238E27FC236}">
                    <a16:creationId xmlns:a16="http://schemas.microsoft.com/office/drawing/2014/main" id="{F0371DC5-637A-DB6D-3588-AA1B2CB7BC3F}"/>
                  </a:ext>
                </a:extLst>
              </p:cNvPr>
              <p:cNvSpPr/>
              <p:nvPr/>
            </p:nvSpPr>
            <p:spPr>
              <a:xfrm>
                <a:off x="1438744" y="6609268"/>
                <a:ext cx="63055" cy="124587"/>
              </a:xfrm>
              <a:custGeom>
                <a:avLst/>
                <a:gdLst>
                  <a:gd name="connsiteX0" fmla="*/ 0 w 63055"/>
                  <a:gd name="connsiteY0" fmla="*/ 99250 h 124587"/>
                  <a:gd name="connsiteX1" fmla="*/ 24384 w 63055"/>
                  <a:gd name="connsiteY1" fmla="*/ 124587 h 124587"/>
                  <a:gd name="connsiteX2" fmla="*/ 63055 w 63055"/>
                  <a:gd name="connsiteY2" fmla="*/ 124587 h 124587"/>
                  <a:gd name="connsiteX3" fmla="*/ 63055 w 63055"/>
                  <a:gd name="connsiteY3" fmla="*/ 96488 h 124587"/>
                  <a:gd name="connsiteX4" fmla="*/ 27241 w 63055"/>
                  <a:gd name="connsiteY4" fmla="*/ 96488 h 124587"/>
                  <a:gd name="connsiteX5" fmla="*/ 27241 w 63055"/>
                  <a:gd name="connsiteY5" fmla="*/ 85154 h 124587"/>
                  <a:gd name="connsiteX6" fmla="*/ 27241 w 63055"/>
                  <a:gd name="connsiteY6" fmla="*/ 0 h 124587"/>
                  <a:gd name="connsiteX7" fmla="*/ 0 w 63055"/>
                  <a:gd name="connsiteY7" fmla="*/ 0 h 124587"/>
                  <a:gd name="connsiteX8" fmla="*/ 0 w 63055"/>
                  <a:gd name="connsiteY8" fmla="*/ 99346 h 124587"/>
                  <a:gd name="connsiteX9" fmla="*/ 0 w 63055"/>
                  <a:gd name="connsiteY9" fmla="*/ 99346 h 124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055" h="124587">
                    <a:moveTo>
                      <a:pt x="0" y="99250"/>
                    </a:moveTo>
                    <a:cubicBezTo>
                      <a:pt x="0" y="114395"/>
                      <a:pt x="6001" y="124587"/>
                      <a:pt x="24384" y="124587"/>
                    </a:cubicBezTo>
                    <a:lnTo>
                      <a:pt x="63055" y="124587"/>
                    </a:lnTo>
                    <a:lnTo>
                      <a:pt x="63055" y="96488"/>
                    </a:lnTo>
                    <a:cubicBezTo>
                      <a:pt x="52102" y="96488"/>
                      <a:pt x="27241" y="96488"/>
                      <a:pt x="27241" y="96488"/>
                    </a:cubicBezTo>
                    <a:cubicBezTo>
                      <a:pt x="27241" y="96488"/>
                      <a:pt x="27241" y="88773"/>
                      <a:pt x="27241" y="85154"/>
                    </a:cubicBezTo>
                    <a:lnTo>
                      <a:pt x="27241" y="0"/>
                    </a:lnTo>
                    <a:lnTo>
                      <a:pt x="0" y="0"/>
                    </a:lnTo>
                    <a:lnTo>
                      <a:pt x="0" y="99346"/>
                    </a:lnTo>
                    <a:lnTo>
                      <a:pt x="0" y="99346"/>
                    </a:lnTo>
                    <a:close/>
                  </a:path>
                </a:pathLst>
              </a:custGeom>
              <a:solidFill>
                <a:srgbClr val="1E3D8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39" name="Freihandform: Form 467">
                <a:extLst>
                  <a:ext uri="{FF2B5EF4-FFF2-40B4-BE49-F238E27FC236}">
                    <a16:creationId xmlns:a16="http://schemas.microsoft.com/office/drawing/2014/main" id="{742A2C64-E1FE-23A7-CED7-B6D47BCF9FC6}"/>
                  </a:ext>
                </a:extLst>
              </p:cNvPr>
              <p:cNvSpPr/>
              <p:nvPr/>
            </p:nvSpPr>
            <p:spPr>
              <a:xfrm>
                <a:off x="1829269" y="6609172"/>
                <a:ext cx="26955" cy="124682"/>
              </a:xfrm>
              <a:custGeom>
                <a:avLst/>
                <a:gdLst>
                  <a:gd name="connsiteX0" fmla="*/ 0 w 26955"/>
                  <a:gd name="connsiteY0" fmla="*/ 0 h 124682"/>
                  <a:gd name="connsiteX1" fmla="*/ 0 w 26955"/>
                  <a:gd name="connsiteY1" fmla="*/ 124682 h 124682"/>
                  <a:gd name="connsiteX2" fmla="*/ 26956 w 26955"/>
                  <a:gd name="connsiteY2" fmla="*/ 124587 h 124682"/>
                  <a:gd name="connsiteX3" fmla="*/ 26956 w 26955"/>
                  <a:gd name="connsiteY3" fmla="*/ 0 h 124682"/>
                  <a:gd name="connsiteX4" fmla="*/ 0 w 26955"/>
                  <a:gd name="connsiteY4" fmla="*/ 0 h 124682"/>
                  <a:gd name="connsiteX5" fmla="*/ 0 w 26955"/>
                  <a:gd name="connsiteY5" fmla="*/ 0 h 124682"/>
                  <a:gd name="connsiteX6" fmla="*/ 0 w 26955"/>
                  <a:gd name="connsiteY6" fmla="*/ 0 h 124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955" h="124682">
                    <a:moveTo>
                      <a:pt x="0" y="0"/>
                    </a:moveTo>
                    <a:lnTo>
                      <a:pt x="0" y="124682"/>
                    </a:lnTo>
                    <a:lnTo>
                      <a:pt x="26956" y="124587"/>
                    </a:lnTo>
                    <a:lnTo>
                      <a:pt x="2695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E3D8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40" name="Freihandform: Form 468">
                <a:extLst>
                  <a:ext uri="{FF2B5EF4-FFF2-40B4-BE49-F238E27FC236}">
                    <a16:creationId xmlns:a16="http://schemas.microsoft.com/office/drawing/2014/main" id="{9EF1C9CF-F8C5-A27A-E8B2-F75E60B69A74}"/>
                  </a:ext>
                </a:extLst>
              </p:cNvPr>
              <p:cNvSpPr/>
              <p:nvPr/>
            </p:nvSpPr>
            <p:spPr>
              <a:xfrm>
                <a:off x="1869750" y="6609172"/>
                <a:ext cx="26860" cy="124682"/>
              </a:xfrm>
              <a:custGeom>
                <a:avLst/>
                <a:gdLst>
                  <a:gd name="connsiteX0" fmla="*/ 0 w 26860"/>
                  <a:gd name="connsiteY0" fmla="*/ 0 h 124682"/>
                  <a:gd name="connsiteX1" fmla="*/ 0 w 26860"/>
                  <a:gd name="connsiteY1" fmla="*/ 124682 h 124682"/>
                  <a:gd name="connsiteX2" fmla="*/ 26860 w 26860"/>
                  <a:gd name="connsiteY2" fmla="*/ 124587 h 124682"/>
                  <a:gd name="connsiteX3" fmla="*/ 26860 w 26860"/>
                  <a:gd name="connsiteY3" fmla="*/ 0 h 124682"/>
                  <a:gd name="connsiteX4" fmla="*/ 0 w 26860"/>
                  <a:gd name="connsiteY4" fmla="*/ 0 h 124682"/>
                  <a:gd name="connsiteX5" fmla="*/ 0 w 26860"/>
                  <a:gd name="connsiteY5" fmla="*/ 0 h 124682"/>
                  <a:gd name="connsiteX6" fmla="*/ 0 w 26860"/>
                  <a:gd name="connsiteY6" fmla="*/ 0 h 124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860" h="124682">
                    <a:moveTo>
                      <a:pt x="0" y="0"/>
                    </a:moveTo>
                    <a:lnTo>
                      <a:pt x="0" y="124682"/>
                    </a:lnTo>
                    <a:lnTo>
                      <a:pt x="26860" y="124587"/>
                    </a:lnTo>
                    <a:lnTo>
                      <a:pt x="2686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E3D8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41" name="Freihandform: Form 469">
                <a:extLst>
                  <a:ext uri="{FF2B5EF4-FFF2-40B4-BE49-F238E27FC236}">
                    <a16:creationId xmlns:a16="http://schemas.microsoft.com/office/drawing/2014/main" id="{891F216B-9BDA-888E-CA6D-876FF7BD9C36}"/>
                  </a:ext>
                </a:extLst>
              </p:cNvPr>
              <p:cNvSpPr/>
              <p:nvPr/>
            </p:nvSpPr>
            <p:spPr>
              <a:xfrm>
                <a:off x="1907564" y="6639557"/>
                <a:ext cx="95631" cy="95631"/>
              </a:xfrm>
              <a:custGeom>
                <a:avLst/>
                <a:gdLst>
                  <a:gd name="connsiteX0" fmla="*/ 27146 w 95631"/>
                  <a:gd name="connsiteY0" fmla="*/ 47816 h 95631"/>
                  <a:gd name="connsiteX1" fmla="*/ 47816 w 95631"/>
                  <a:gd name="connsiteY1" fmla="*/ 27146 h 95631"/>
                  <a:gd name="connsiteX2" fmla="*/ 68485 w 95631"/>
                  <a:gd name="connsiteY2" fmla="*/ 47816 h 95631"/>
                  <a:gd name="connsiteX3" fmla="*/ 47816 w 95631"/>
                  <a:gd name="connsiteY3" fmla="*/ 68485 h 95631"/>
                  <a:gd name="connsiteX4" fmla="*/ 27146 w 95631"/>
                  <a:gd name="connsiteY4" fmla="*/ 47816 h 95631"/>
                  <a:gd name="connsiteX5" fmla="*/ 27146 w 95631"/>
                  <a:gd name="connsiteY5" fmla="*/ 47816 h 95631"/>
                  <a:gd name="connsiteX6" fmla="*/ 0 w 95631"/>
                  <a:gd name="connsiteY6" fmla="*/ 47816 h 95631"/>
                  <a:gd name="connsiteX7" fmla="*/ 47816 w 95631"/>
                  <a:gd name="connsiteY7" fmla="*/ 0 h 95631"/>
                  <a:gd name="connsiteX8" fmla="*/ 95631 w 95631"/>
                  <a:gd name="connsiteY8" fmla="*/ 47816 h 95631"/>
                  <a:gd name="connsiteX9" fmla="*/ 47816 w 95631"/>
                  <a:gd name="connsiteY9" fmla="*/ 95631 h 95631"/>
                  <a:gd name="connsiteX10" fmla="*/ 0 w 95631"/>
                  <a:gd name="connsiteY10" fmla="*/ 47816 h 95631"/>
                  <a:gd name="connsiteX11" fmla="*/ 0 w 95631"/>
                  <a:gd name="connsiteY11" fmla="*/ 47816 h 95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5631" h="95631">
                    <a:moveTo>
                      <a:pt x="27146" y="47816"/>
                    </a:moveTo>
                    <a:cubicBezTo>
                      <a:pt x="27146" y="36385"/>
                      <a:pt x="36386" y="27146"/>
                      <a:pt x="47816" y="27146"/>
                    </a:cubicBezTo>
                    <a:cubicBezTo>
                      <a:pt x="59246" y="27146"/>
                      <a:pt x="68485" y="36385"/>
                      <a:pt x="68485" y="47816"/>
                    </a:cubicBezTo>
                    <a:cubicBezTo>
                      <a:pt x="68485" y="59246"/>
                      <a:pt x="59246" y="68485"/>
                      <a:pt x="47816" y="68485"/>
                    </a:cubicBezTo>
                    <a:cubicBezTo>
                      <a:pt x="36386" y="68485"/>
                      <a:pt x="27146" y="59246"/>
                      <a:pt x="27146" y="47816"/>
                    </a:cubicBezTo>
                    <a:lnTo>
                      <a:pt x="27146" y="47816"/>
                    </a:lnTo>
                    <a:close/>
                    <a:moveTo>
                      <a:pt x="0" y="47816"/>
                    </a:moveTo>
                    <a:cubicBezTo>
                      <a:pt x="0" y="21431"/>
                      <a:pt x="21431" y="0"/>
                      <a:pt x="47816" y="0"/>
                    </a:cubicBezTo>
                    <a:cubicBezTo>
                      <a:pt x="74200" y="0"/>
                      <a:pt x="95631" y="21431"/>
                      <a:pt x="95631" y="47816"/>
                    </a:cubicBezTo>
                    <a:cubicBezTo>
                      <a:pt x="95631" y="74200"/>
                      <a:pt x="74200" y="95631"/>
                      <a:pt x="47816" y="95631"/>
                    </a:cubicBezTo>
                    <a:cubicBezTo>
                      <a:pt x="21431" y="95631"/>
                      <a:pt x="0" y="74200"/>
                      <a:pt x="0" y="47816"/>
                    </a:cubicBezTo>
                    <a:lnTo>
                      <a:pt x="0" y="47816"/>
                    </a:lnTo>
                    <a:close/>
                  </a:path>
                </a:pathLst>
              </a:custGeom>
              <a:solidFill>
                <a:srgbClr val="1E3D8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42" name="Freihandform: Form 470">
                <a:extLst>
                  <a:ext uri="{FF2B5EF4-FFF2-40B4-BE49-F238E27FC236}">
                    <a16:creationId xmlns:a16="http://schemas.microsoft.com/office/drawing/2014/main" id="{650F2C3F-9832-D0DC-CA78-AD8A554ED2D6}"/>
                  </a:ext>
                </a:extLst>
              </p:cNvPr>
              <p:cNvSpPr/>
              <p:nvPr/>
            </p:nvSpPr>
            <p:spPr>
              <a:xfrm>
                <a:off x="1721731" y="6639653"/>
                <a:ext cx="95440" cy="95440"/>
              </a:xfrm>
              <a:custGeom>
                <a:avLst/>
                <a:gdLst>
                  <a:gd name="connsiteX0" fmla="*/ 25146 w 95440"/>
                  <a:gd name="connsiteY0" fmla="*/ 39338 h 95440"/>
                  <a:gd name="connsiteX1" fmla="*/ 47816 w 95440"/>
                  <a:gd name="connsiteY1" fmla="*/ 23431 h 95440"/>
                  <a:gd name="connsiteX2" fmla="*/ 70485 w 95440"/>
                  <a:gd name="connsiteY2" fmla="*/ 39338 h 95440"/>
                  <a:gd name="connsiteX3" fmla="*/ 25146 w 95440"/>
                  <a:gd name="connsiteY3" fmla="*/ 39338 h 95440"/>
                  <a:gd name="connsiteX4" fmla="*/ 95441 w 95440"/>
                  <a:gd name="connsiteY4" fmla="*/ 47720 h 95440"/>
                  <a:gd name="connsiteX5" fmla="*/ 47720 w 95440"/>
                  <a:gd name="connsiteY5" fmla="*/ 0 h 95440"/>
                  <a:gd name="connsiteX6" fmla="*/ 0 w 95440"/>
                  <a:gd name="connsiteY6" fmla="*/ 47720 h 95440"/>
                  <a:gd name="connsiteX7" fmla="*/ 47720 w 95440"/>
                  <a:gd name="connsiteY7" fmla="*/ 95440 h 95440"/>
                  <a:gd name="connsiteX8" fmla="*/ 92583 w 95440"/>
                  <a:gd name="connsiteY8" fmla="*/ 63817 h 95440"/>
                  <a:gd name="connsiteX9" fmla="*/ 66675 w 95440"/>
                  <a:gd name="connsiteY9" fmla="*/ 63817 h 95440"/>
                  <a:gd name="connsiteX10" fmla="*/ 47816 w 95440"/>
                  <a:gd name="connsiteY10" fmla="*/ 73152 h 95440"/>
                  <a:gd name="connsiteX11" fmla="*/ 25146 w 95440"/>
                  <a:gd name="connsiteY11" fmla="*/ 57245 h 95440"/>
                  <a:gd name="connsiteX12" fmla="*/ 29432 w 95440"/>
                  <a:gd name="connsiteY12" fmla="*/ 57245 h 95440"/>
                  <a:gd name="connsiteX13" fmla="*/ 29432 w 95440"/>
                  <a:gd name="connsiteY13" fmla="*/ 57245 h 95440"/>
                  <a:gd name="connsiteX14" fmla="*/ 61436 w 95440"/>
                  <a:gd name="connsiteY14" fmla="*/ 57245 h 95440"/>
                  <a:gd name="connsiteX15" fmla="*/ 94488 w 95440"/>
                  <a:gd name="connsiteY15" fmla="*/ 57245 h 95440"/>
                  <a:gd name="connsiteX16" fmla="*/ 95441 w 95440"/>
                  <a:gd name="connsiteY16" fmla="*/ 47815 h 95440"/>
                  <a:gd name="connsiteX17" fmla="*/ 95441 w 95440"/>
                  <a:gd name="connsiteY17" fmla="*/ 47815 h 9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95440" h="95440">
                    <a:moveTo>
                      <a:pt x="25146" y="39338"/>
                    </a:moveTo>
                    <a:cubicBezTo>
                      <a:pt x="28956" y="30004"/>
                      <a:pt x="37624" y="23431"/>
                      <a:pt x="47816" y="23431"/>
                    </a:cubicBezTo>
                    <a:cubicBezTo>
                      <a:pt x="58007" y="23431"/>
                      <a:pt x="66675" y="30004"/>
                      <a:pt x="70485" y="39338"/>
                    </a:cubicBezTo>
                    <a:lnTo>
                      <a:pt x="25146" y="39338"/>
                    </a:lnTo>
                    <a:close/>
                    <a:moveTo>
                      <a:pt x="95441" y="47720"/>
                    </a:moveTo>
                    <a:cubicBezTo>
                      <a:pt x="95441" y="21336"/>
                      <a:pt x="74104" y="0"/>
                      <a:pt x="47720" y="0"/>
                    </a:cubicBezTo>
                    <a:cubicBezTo>
                      <a:pt x="21336" y="0"/>
                      <a:pt x="0" y="21336"/>
                      <a:pt x="0" y="47720"/>
                    </a:cubicBezTo>
                    <a:cubicBezTo>
                      <a:pt x="0" y="74104"/>
                      <a:pt x="21336" y="95440"/>
                      <a:pt x="47720" y="95440"/>
                    </a:cubicBezTo>
                    <a:cubicBezTo>
                      <a:pt x="68390" y="95440"/>
                      <a:pt x="86011" y="82296"/>
                      <a:pt x="92583" y="63817"/>
                    </a:cubicBezTo>
                    <a:lnTo>
                      <a:pt x="66675" y="63817"/>
                    </a:lnTo>
                    <a:cubicBezTo>
                      <a:pt x="62103" y="69532"/>
                      <a:pt x="55340" y="73152"/>
                      <a:pt x="47816" y="73152"/>
                    </a:cubicBezTo>
                    <a:cubicBezTo>
                      <a:pt x="37624" y="73152"/>
                      <a:pt x="28956" y="66580"/>
                      <a:pt x="25146" y="57245"/>
                    </a:cubicBezTo>
                    <a:lnTo>
                      <a:pt x="29432" y="57245"/>
                    </a:lnTo>
                    <a:lnTo>
                      <a:pt x="29432" y="57245"/>
                    </a:lnTo>
                    <a:cubicBezTo>
                      <a:pt x="29432" y="57245"/>
                      <a:pt x="61436" y="57245"/>
                      <a:pt x="61436" y="57245"/>
                    </a:cubicBezTo>
                    <a:lnTo>
                      <a:pt x="94488" y="57245"/>
                    </a:lnTo>
                    <a:cubicBezTo>
                      <a:pt x="95155" y="54197"/>
                      <a:pt x="95441" y="50959"/>
                      <a:pt x="95441" y="47815"/>
                    </a:cubicBezTo>
                    <a:lnTo>
                      <a:pt x="95441" y="47815"/>
                    </a:lnTo>
                    <a:close/>
                  </a:path>
                </a:pathLst>
              </a:custGeom>
              <a:solidFill>
                <a:srgbClr val="1E3D8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43" name="Freihandform: Form 471">
                <a:extLst>
                  <a:ext uri="{FF2B5EF4-FFF2-40B4-BE49-F238E27FC236}">
                    <a16:creationId xmlns:a16="http://schemas.microsoft.com/office/drawing/2014/main" id="{E6BCC87E-8CB0-B31A-4A03-BF14237A545E}"/>
                  </a:ext>
                </a:extLst>
              </p:cNvPr>
              <p:cNvSpPr/>
              <p:nvPr/>
            </p:nvSpPr>
            <p:spPr>
              <a:xfrm>
                <a:off x="1507514" y="6639653"/>
                <a:ext cx="95631" cy="95631"/>
              </a:xfrm>
              <a:custGeom>
                <a:avLst/>
                <a:gdLst>
                  <a:gd name="connsiteX0" fmla="*/ 47816 w 95631"/>
                  <a:gd name="connsiteY0" fmla="*/ 68485 h 95631"/>
                  <a:gd name="connsiteX1" fmla="*/ 27146 w 95631"/>
                  <a:gd name="connsiteY1" fmla="*/ 47815 h 95631"/>
                  <a:gd name="connsiteX2" fmla="*/ 47816 w 95631"/>
                  <a:gd name="connsiteY2" fmla="*/ 27146 h 95631"/>
                  <a:gd name="connsiteX3" fmla="*/ 68485 w 95631"/>
                  <a:gd name="connsiteY3" fmla="*/ 47815 h 95631"/>
                  <a:gd name="connsiteX4" fmla="*/ 47816 w 95631"/>
                  <a:gd name="connsiteY4" fmla="*/ 68485 h 95631"/>
                  <a:gd name="connsiteX5" fmla="*/ 47816 w 95631"/>
                  <a:gd name="connsiteY5" fmla="*/ 68485 h 95631"/>
                  <a:gd name="connsiteX6" fmla="*/ 95631 w 95631"/>
                  <a:gd name="connsiteY6" fmla="*/ 47244 h 95631"/>
                  <a:gd name="connsiteX7" fmla="*/ 47816 w 95631"/>
                  <a:gd name="connsiteY7" fmla="*/ 0 h 95631"/>
                  <a:gd name="connsiteX8" fmla="*/ 0 w 95631"/>
                  <a:gd name="connsiteY8" fmla="*/ 47815 h 95631"/>
                  <a:gd name="connsiteX9" fmla="*/ 47816 w 95631"/>
                  <a:gd name="connsiteY9" fmla="*/ 95631 h 95631"/>
                  <a:gd name="connsiteX10" fmla="*/ 68961 w 95631"/>
                  <a:gd name="connsiteY10" fmla="*/ 90583 h 95631"/>
                  <a:gd name="connsiteX11" fmla="*/ 68961 w 95631"/>
                  <a:gd name="connsiteY11" fmla="*/ 94298 h 95631"/>
                  <a:gd name="connsiteX12" fmla="*/ 95631 w 95631"/>
                  <a:gd name="connsiteY12" fmla="*/ 94298 h 95631"/>
                  <a:gd name="connsiteX13" fmla="*/ 95631 w 95631"/>
                  <a:gd name="connsiteY13" fmla="*/ 47244 h 95631"/>
                  <a:gd name="connsiteX14" fmla="*/ 95631 w 95631"/>
                  <a:gd name="connsiteY14" fmla="*/ 47244 h 95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5631" h="95631">
                    <a:moveTo>
                      <a:pt x="47816" y="68485"/>
                    </a:moveTo>
                    <a:cubicBezTo>
                      <a:pt x="36386" y="68485"/>
                      <a:pt x="27146" y="59246"/>
                      <a:pt x="27146" y="47815"/>
                    </a:cubicBezTo>
                    <a:cubicBezTo>
                      <a:pt x="27146" y="36385"/>
                      <a:pt x="36386" y="27146"/>
                      <a:pt x="47816" y="27146"/>
                    </a:cubicBezTo>
                    <a:cubicBezTo>
                      <a:pt x="59246" y="27146"/>
                      <a:pt x="68485" y="36385"/>
                      <a:pt x="68485" y="47815"/>
                    </a:cubicBezTo>
                    <a:cubicBezTo>
                      <a:pt x="68485" y="59246"/>
                      <a:pt x="59246" y="68485"/>
                      <a:pt x="47816" y="68485"/>
                    </a:cubicBezTo>
                    <a:lnTo>
                      <a:pt x="47816" y="68485"/>
                    </a:lnTo>
                    <a:close/>
                    <a:moveTo>
                      <a:pt x="95631" y="47244"/>
                    </a:moveTo>
                    <a:cubicBezTo>
                      <a:pt x="95345" y="21146"/>
                      <a:pt x="74105" y="0"/>
                      <a:pt x="47816" y="0"/>
                    </a:cubicBezTo>
                    <a:cubicBezTo>
                      <a:pt x="21527" y="0"/>
                      <a:pt x="0" y="21431"/>
                      <a:pt x="0" y="47815"/>
                    </a:cubicBezTo>
                    <a:cubicBezTo>
                      <a:pt x="0" y="74200"/>
                      <a:pt x="21431" y="95631"/>
                      <a:pt x="47816" y="95631"/>
                    </a:cubicBezTo>
                    <a:cubicBezTo>
                      <a:pt x="55436" y="95631"/>
                      <a:pt x="62579" y="93821"/>
                      <a:pt x="68961" y="90583"/>
                    </a:cubicBezTo>
                    <a:lnTo>
                      <a:pt x="68961" y="94298"/>
                    </a:lnTo>
                    <a:lnTo>
                      <a:pt x="95631" y="94298"/>
                    </a:lnTo>
                    <a:lnTo>
                      <a:pt x="95631" y="47244"/>
                    </a:lnTo>
                    <a:lnTo>
                      <a:pt x="95631" y="47244"/>
                    </a:lnTo>
                    <a:close/>
                  </a:path>
                </a:pathLst>
              </a:custGeom>
              <a:solidFill>
                <a:srgbClr val="1E3D8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44" name="Freihandform: Form 472">
                <a:extLst>
                  <a:ext uri="{FF2B5EF4-FFF2-40B4-BE49-F238E27FC236}">
                    <a16:creationId xmlns:a16="http://schemas.microsoft.com/office/drawing/2014/main" id="{BC8FE96B-3B38-4400-26CC-5408F60FAD77}"/>
                  </a:ext>
                </a:extLst>
              </p:cNvPr>
              <p:cNvSpPr/>
              <p:nvPr/>
            </p:nvSpPr>
            <p:spPr>
              <a:xfrm>
                <a:off x="1615623" y="6609172"/>
                <a:ext cx="95630" cy="126015"/>
              </a:xfrm>
              <a:custGeom>
                <a:avLst/>
                <a:gdLst>
                  <a:gd name="connsiteX0" fmla="*/ 47816 w 95630"/>
                  <a:gd name="connsiteY0" fmla="*/ 98965 h 126015"/>
                  <a:gd name="connsiteX1" fmla="*/ 27146 w 95630"/>
                  <a:gd name="connsiteY1" fmla="*/ 78296 h 126015"/>
                  <a:gd name="connsiteX2" fmla="*/ 47816 w 95630"/>
                  <a:gd name="connsiteY2" fmla="*/ 57626 h 126015"/>
                  <a:gd name="connsiteX3" fmla="*/ 68485 w 95630"/>
                  <a:gd name="connsiteY3" fmla="*/ 78296 h 126015"/>
                  <a:gd name="connsiteX4" fmla="*/ 47816 w 95630"/>
                  <a:gd name="connsiteY4" fmla="*/ 98965 h 126015"/>
                  <a:gd name="connsiteX5" fmla="*/ 47816 w 95630"/>
                  <a:gd name="connsiteY5" fmla="*/ 98965 h 126015"/>
                  <a:gd name="connsiteX6" fmla="*/ 47816 w 95630"/>
                  <a:gd name="connsiteY6" fmla="*/ 30480 h 126015"/>
                  <a:gd name="connsiteX7" fmla="*/ 26861 w 95630"/>
                  <a:gd name="connsiteY7" fmla="*/ 35338 h 126015"/>
                  <a:gd name="connsiteX8" fmla="*/ 26861 w 95630"/>
                  <a:gd name="connsiteY8" fmla="*/ 0 h 126015"/>
                  <a:gd name="connsiteX9" fmla="*/ 0 w 95630"/>
                  <a:gd name="connsiteY9" fmla="*/ 0 h 126015"/>
                  <a:gd name="connsiteX10" fmla="*/ 0 w 95630"/>
                  <a:gd name="connsiteY10" fmla="*/ 78391 h 126015"/>
                  <a:gd name="connsiteX11" fmla="*/ 0 w 95630"/>
                  <a:gd name="connsiteY11" fmla="*/ 78391 h 126015"/>
                  <a:gd name="connsiteX12" fmla="*/ 47816 w 95630"/>
                  <a:gd name="connsiteY12" fmla="*/ 126016 h 126015"/>
                  <a:gd name="connsiteX13" fmla="*/ 95631 w 95630"/>
                  <a:gd name="connsiteY13" fmla="*/ 78200 h 126015"/>
                  <a:gd name="connsiteX14" fmla="*/ 47816 w 95630"/>
                  <a:gd name="connsiteY14" fmla="*/ 30385 h 126015"/>
                  <a:gd name="connsiteX15" fmla="*/ 47816 w 95630"/>
                  <a:gd name="connsiteY15" fmla="*/ 30385 h 126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5630" h="126015">
                    <a:moveTo>
                      <a:pt x="47816" y="98965"/>
                    </a:moveTo>
                    <a:cubicBezTo>
                      <a:pt x="36386" y="98965"/>
                      <a:pt x="27146" y="89726"/>
                      <a:pt x="27146" y="78296"/>
                    </a:cubicBezTo>
                    <a:cubicBezTo>
                      <a:pt x="27146" y="66866"/>
                      <a:pt x="36386" y="57626"/>
                      <a:pt x="47816" y="57626"/>
                    </a:cubicBezTo>
                    <a:cubicBezTo>
                      <a:pt x="59246" y="57626"/>
                      <a:pt x="68485" y="66866"/>
                      <a:pt x="68485" y="78296"/>
                    </a:cubicBezTo>
                    <a:cubicBezTo>
                      <a:pt x="68485" y="89726"/>
                      <a:pt x="59246" y="98965"/>
                      <a:pt x="47816" y="98965"/>
                    </a:cubicBezTo>
                    <a:lnTo>
                      <a:pt x="47816" y="98965"/>
                    </a:lnTo>
                    <a:close/>
                    <a:moveTo>
                      <a:pt x="47816" y="30480"/>
                    </a:moveTo>
                    <a:cubicBezTo>
                      <a:pt x="40291" y="30480"/>
                      <a:pt x="33147" y="32290"/>
                      <a:pt x="26861" y="35338"/>
                    </a:cubicBezTo>
                    <a:lnTo>
                      <a:pt x="26861" y="0"/>
                    </a:lnTo>
                    <a:lnTo>
                      <a:pt x="0" y="0"/>
                    </a:lnTo>
                    <a:lnTo>
                      <a:pt x="0" y="78391"/>
                    </a:lnTo>
                    <a:lnTo>
                      <a:pt x="0" y="78391"/>
                    </a:lnTo>
                    <a:cubicBezTo>
                      <a:pt x="95" y="104680"/>
                      <a:pt x="21431" y="126016"/>
                      <a:pt x="47816" y="126016"/>
                    </a:cubicBezTo>
                    <a:cubicBezTo>
                      <a:pt x="74200" y="126016"/>
                      <a:pt x="95631" y="104585"/>
                      <a:pt x="95631" y="78200"/>
                    </a:cubicBezTo>
                    <a:cubicBezTo>
                      <a:pt x="95631" y="51816"/>
                      <a:pt x="74295" y="30385"/>
                      <a:pt x="47816" y="30385"/>
                    </a:cubicBezTo>
                    <a:lnTo>
                      <a:pt x="47816" y="30385"/>
                    </a:lnTo>
                    <a:close/>
                  </a:path>
                </a:pathLst>
              </a:custGeom>
              <a:solidFill>
                <a:srgbClr val="1E3D8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45" name="Freihandform: Form 473">
                <a:extLst>
                  <a:ext uri="{FF2B5EF4-FFF2-40B4-BE49-F238E27FC236}">
                    <a16:creationId xmlns:a16="http://schemas.microsoft.com/office/drawing/2014/main" id="{5F69519C-A963-6595-8DD1-14EF97056AC4}"/>
                  </a:ext>
                </a:extLst>
              </p:cNvPr>
              <p:cNvSpPr/>
              <p:nvPr/>
            </p:nvSpPr>
            <p:spPr>
              <a:xfrm>
                <a:off x="1988050" y="6626127"/>
                <a:ext cx="20192" cy="20192"/>
              </a:xfrm>
              <a:custGeom>
                <a:avLst/>
                <a:gdLst>
                  <a:gd name="connsiteX0" fmla="*/ 9525 w 20192"/>
                  <a:gd name="connsiteY0" fmla="*/ 8858 h 20192"/>
                  <a:gd name="connsiteX1" fmla="*/ 7715 w 20192"/>
                  <a:gd name="connsiteY1" fmla="*/ 8858 h 20192"/>
                  <a:gd name="connsiteX2" fmla="*/ 7715 w 20192"/>
                  <a:gd name="connsiteY2" fmla="*/ 5905 h 20192"/>
                  <a:gd name="connsiteX3" fmla="*/ 10668 w 20192"/>
                  <a:gd name="connsiteY3" fmla="*/ 5905 h 20192"/>
                  <a:gd name="connsiteX4" fmla="*/ 13335 w 20192"/>
                  <a:gd name="connsiteY4" fmla="*/ 7525 h 20192"/>
                  <a:gd name="connsiteX5" fmla="*/ 9525 w 20192"/>
                  <a:gd name="connsiteY5" fmla="*/ 8858 h 20192"/>
                  <a:gd name="connsiteX6" fmla="*/ 9525 w 20192"/>
                  <a:gd name="connsiteY6" fmla="*/ 8858 h 20192"/>
                  <a:gd name="connsiteX7" fmla="*/ 15145 w 20192"/>
                  <a:gd name="connsiteY7" fmla="*/ 7334 h 20192"/>
                  <a:gd name="connsiteX8" fmla="*/ 11049 w 20192"/>
                  <a:gd name="connsiteY8" fmla="*/ 4191 h 20192"/>
                  <a:gd name="connsiteX9" fmla="*/ 6001 w 20192"/>
                  <a:gd name="connsiteY9" fmla="*/ 4191 h 20192"/>
                  <a:gd name="connsiteX10" fmla="*/ 6001 w 20192"/>
                  <a:gd name="connsiteY10" fmla="*/ 16192 h 20192"/>
                  <a:gd name="connsiteX11" fmla="*/ 7715 w 20192"/>
                  <a:gd name="connsiteY11" fmla="*/ 16192 h 20192"/>
                  <a:gd name="connsiteX12" fmla="*/ 7715 w 20192"/>
                  <a:gd name="connsiteY12" fmla="*/ 10668 h 20192"/>
                  <a:gd name="connsiteX13" fmla="*/ 9906 w 20192"/>
                  <a:gd name="connsiteY13" fmla="*/ 10668 h 20192"/>
                  <a:gd name="connsiteX14" fmla="*/ 12954 w 20192"/>
                  <a:gd name="connsiteY14" fmla="*/ 16192 h 20192"/>
                  <a:gd name="connsiteX15" fmla="*/ 14954 w 20192"/>
                  <a:gd name="connsiteY15" fmla="*/ 16192 h 20192"/>
                  <a:gd name="connsiteX16" fmla="*/ 11906 w 20192"/>
                  <a:gd name="connsiteY16" fmla="*/ 10668 h 20192"/>
                  <a:gd name="connsiteX17" fmla="*/ 15050 w 20192"/>
                  <a:gd name="connsiteY17" fmla="*/ 7334 h 20192"/>
                  <a:gd name="connsiteX18" fmla="*/ 15050 w 20192"/>
                  <a:gd name="connsiteY18" fmla="*/ 7334 h 20192"/>
                  <a:gd name="connsiteX19" fmla="*/ 10096 w 20192"/>
                  <a:gd name="connsiteY19" fmla="*/ 18383 h 20192"/>
                  <a:gd name="connsiteX20" fmla="*/ 1810 w 20192"/>
                  <a:gd name="connsiteY20" fmla="*/ 10096 h 20192"/>
                  <a:gd name="connsiteX21" fmla="*/ 10096 w 20192"/>
                  <a:gd name="connsiteY21" fmla="*/ 1810 h 20192"/>
                  <a:gd name="connsiteX22" fmla="*/ 18383 w 20192"/>
                  <a:gd name="connsiteY22" fmla="*/ 10096 h 20192"/>
                  <a:gd name="connsiteX23" fmla="*/ 10096 w 20192"/>
                  <a:gd name="connsiteY23" fmla="*/ 18383 h 20192"/>
                  <a:gd name="connsiteX24" fmla="*/ 10096 w 20192"/>
                  <a:gd name="connsiteY24" fmla="*/ 18383 h 20192"/>
                  <a:gd name="connsiteX25" fmla="*/ 10096 w 20192"/>
                  <a:gd name="connsiteY25" fmla="*/ 0 h 20192"/>
                  <a:gd name="connsiteX26" fmla="*/ 0 w 20192"/>
                  <a:gd name="connsiteY26" fmla="*/ 10096 h 20192"/>
                  <a:gd name="connsiteX27" fmla="*/ 10096 w 20192"/>
                  <a:gd name="connsiteY27" fmla="*/ 20193 h 20192"/>
                  <a:gd name="connsiteX28" fmla="*/ 20193 w 20192"/>
                  <a:gd name="connsiteY28" fmla="*/ 10096 h 20192"/>
                  <a:gd name="connsiteX29" fmla="*/ 10096 w 20192"/>
                  <a:gd name="connsiteY29" fmla="*/ 0 h 20192"/>
                  <a:gd name="connsiteX30" fmla="*/ 10096 w 20192"/>
                  <a:gd name="connsiteY30" fmla="*/ 0 h 20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0192" h="20192">
                    <a:moveTo>
                      <a:pt x="9525" y="8858"/>
                    </a:moveTo>
                    <a:lnTo>
                      <a:pt x="7715" y="8858"/>
                    </a:lnTo>
                    <a:lnTo>
                      <a:pt x="7715" y="5905"/>
                    </a:lnTo>
                    <a:lnTo>
                      <a:pt x="10668" y="5905"/>
                    </a:lnTo>
                    <a:cubicBezTo>
                      <a:pt x="12097" y="5905"/>
                      <a:pt x="13335" y="6001"/>
                      <a:pt x="13335" y="7525"/>
                    </a:cubicBezTo>
                    <a:cubicBezTo>
                      <a:pt x="13335" y="9144"/>
                      <a:pt x="11144" y="8858"/>
                      <a:pt x="9525" y="8858"/>
                    </a:cubicBezTo>
                    <a:lnTo>
                      <a:pt x="9525" y="8858"/>
                    </a:lnTo>
                    <a:close/>
                    <a:moveTo>
                      <a:pt x="15145" y="7334"/>
                    </a:moveTo>
                    <a:cubicBezTo>
                      <a:pt x="15145" y="4763"/>
                      <a:pt x="13240" y="4191"/>
                      <a:pt x="11049" y="4191"/>
                    </a:cubicBezTo>
                    <a:lnTo>
                      <a:pt x="6001" y="4191"/>
                    </a:lnTo>
                    <a:lnTo>
                      <a:pt x="6001" y="16192"/>
                    </a:lnTo>
                    <a:lnTo>
                      <a:pt x="7715" y="16192"/>
                    </a:lnTo>
                    <a:lnTo>
                      <a:pt x="7715" y="10668"/>
                    </a:lnTo>
                    <a:lnTo>
                      <a:pt x="9906" y="10668"/>
                    </a:lnTo>
                    <a:lnTo>
                      <a:pt x="12954" y="16192"/>
                    </a:lnTo>
                    <a:lnTo>
                      <a:pt x="14954" y="16192"/>
                    </a:lnTo>
                    <a:lnTo>
                      <a:pt x="11906" y="10668"/>
                    </a:lnTo>
                    <a:cubicBezTo>
                      <a:pt x="13525" y="10668"/>
                      <a:pt x="15050" y="9715"/>
                      <a:pt x="15050" y="7334"/>
                    </a:cubicBezTo>
                    <a:lnTo>
                      <a:pt x="15050" y="7334"/>
                    </a:lnTo>
                    <a:close/>
                    <a:moveTo>
                      <a:pt x="10096" y="18383"/>
                    </a:moveTo>
                    <a:cubicBezTo>
                      <a:pt x="5525" y="18383"/>
                      <a:pt x="1810" y="14669"/>
                      <a:pt x="1810" y="10096"/>
                    </a:cubicBezTo>
                    <a:cubicBezTo>
                      <a:pt x="1810" y="5524"/>
                      <a:pt x="5620" y="1810"/>
                      <a:pt x="10096" y="1810"/>
                    </a:cubicBezTo>
                    <a:cubicBezTo>
                      <a:pt x="14573" y="1810"/>
                      <a:pt x="18383" y="5429"/>
                      <a:pt x="18383" y="10096"/>
                    </a:cubicBezTo>
                    <a:cubicBezTo>
                      <a:pt x="18383" y="14764"/>
                      <a:pt x="14668" y="18383"/>
                      <a:pt x="10096" y="18383"/>
                    </a:cubicBezTo>
                    <a:lnTo>
                      <a:pt x="10096" y="18383"/>
                    </a:lnTo>
                    <a:close/>
                    <a:moveTo>
                      <a:pt x="10096" y="0"/>
                    </a:moveTo>
                    <a:cubicBezTo>
                      <a:pt x="4477" y="0"/>
                      <a:pt x="0" y="4477"/>
                      <a:pt x="0" y="10096"/>
                    </a:cubicBezTo>
                    <a:cubicBezTo>
                      <a:pt x="0" y="15716"/>
                      <a:pt x="4477" y="20193"/>
                      <a:pt x="10096" y="20193"/>
                    </a:cubicBezTo>
                    <a:cubicBezTo>
                      <a:pt x="15716" y="20193"/>
                      <a:pt x="20193" y="15716"/>
                      <a:pt x="20193" y="10096"/>
                    </a:cubicBezTo>
                    <a:cubicBezTo>
                      <a:pt x="20193" y="4477"/>
                      <a:pt x="15716" y="0"/>
                      <a:pt x="10096" y="0"/>
                    </a:cubicBezTo>
                    <a:lnTo>
                      <a:pt x="10096" y="0"/>
                    </a:lnTo>
                    <a:close/>
                  </a:path>
                </a:pathLst>
              </a:custGeom>
              <a:solidFill>
                <a:srgbClr val="1E3D8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02EF4FA0-C17A-EFFC-BF63-AC93637D44D1}"/>
                </a:ext>
              </a:extLst>
            </p:cNvPr>
            <p:cNvGrpSpPr/>
            <p:nvPr/>
          </p:nvGrpSpPr>
          <p:grpSpPr>
            <a:xfrm>
              <a:off x="2285040" y="6542021"/>
              <a:ext cx="253364" cy="293655"/>
              <a:chOff x="2285040" y="6542021"/>
              <a:chExt cx="253364" cy="293655"/>
            </a:xfrm>
          </p:grpSpPr>
          <p:sp>
            <p:nvSpPr>
              <p:cNvPr id="1035" name="Freihandform: Form 463">
                <a:extLst>
                  <a:ext uri="{FF2B5EF4-FFF2-40B4-BE49-F238E27FC236}">
                    <a16:creationId xmlns:a16="http://schemas.microsoft.com/office/drawing/2014/main" id="{0E72DA58-44FF-9B3B-1430-1E2B5D056E56}"/>
                  </a:ext>
                </a:extLst>
              </p:cNvPr>
              <p:cNvSpPr/>
              <p:nvPr/>
            </p:nvSpPr>
            <p:spPr>
              <a:xfrm>
                <a:off x="2382099" y="6639938"/>
                <a:ext cx="156305" cy="195738"/>
              </a:xfrm>
              <a:custGeom>
                <a:avLst/>
                <a:gdLst>
                  <a:gd name="connsiteX0" fmla="*/ 102108 w 156305"/>
                  <a:gd name="connsiteY0" fmla="*/ 127635 h 195738"/>
                  <a:gd name="connsiteX1" fmla="*/ 102108 w 156305"/>
                  <a:gd name="connsiteY1" fmla="*/ 31337 h 195738"/>
                  <a:gd name="connsiteX2" fmla="*/ 29623 w 156305"/>
                  <a:gd name="connsiteY2" fmla="*/ 127635 h 195738"/>
                  <a:gd name="connsiteX3" fmla="*/ 102108 w 156305"/>
                  <a:gd name="connsiteY3" fmla="*/ 127635 h 195738"/>
                  <a:gd name="connsiteX4" fmla="*/ 102489 w 156305"/>
                  <a:gd name="connsiteY4" fmla="*/ 195739 h 195738"/>
                  <a:gd name="connsiteX5" fmla="*/ 102489 w 156305"/>
                  <a:gd name="connsiteY5" fmla="*/ 150400 h 195738"/>
                  <a:gd name="connsiteX6" fmla="*/ 0 w 156305"/>
                  <a:gd name="connsiteY6" fmla="*/ 150400 h 195738"/>
                  <a:gd name="connsiteX7" fmla="*/ 0 w 156305"/>
                  <a:gd name="connsiteY7" fmla="*/ 131826 h 195738"/>
                  <a:gd name="connsiteX8" fmla="*/ 98298 w 156305"/>
                  <a:gd name="connsiteY8" fmla="*/ 0 h 195738"/>
                  <a:gd name="connsiteX9" fmla="*/ 129826 w 156305"/>
                  <a:gd name="connsiteY9" fmla="*/ 0 h 195738"/>
                  <a:gd name="connsiteX10" fmla="*/ 129826 w 156305"/>
                  <a:gd name="connsiteY10" fmla="*/ 127635 h 195738"/>
                  <a:gd name="connsiteX11" fmla="*/ 156305 w 156305"/>
                  <a:gd name="connsiteY11" fmla="*/ 127635 h 195738"/>
                  <a:gd name="connsiteX12" fmla="*/ 156305 w 156305"/>
                  <a:gd name="connsiteY12" fmla="*/ 150400 h 195738"/>
                  <a:gd name="connsiteX13" fmla="*/ 129826 w 156305"/>
                  <a:gd name="connsiteY13" fmla="*/ 150400 h 195738"/>
                  <a:gd name="connsiteX14" fmla="*/ 129826 w 156305"/>
                  <a:gd name="connsiteY14" fmla="*/ 195739 h 195738"/>
                  <a:gd name="connsiteX15" fmla="*/ 102489 w 156305"/>
                  <a:gd name="connsiteY15" fmla="*/ 195739 h 195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6305" h="195738">
                    <a:moveTo>
                      <a:pt x="102108" y="127635"/>
                    </a:moveTo>
                    <a:lnTo>
                      <a:pt x="102108" y="31337"/>
                    </a:lnTo>
                    <a:lnTo>
                      <a:pt x="29623" y="127635"/>
                    </a:lnTo>
                    <a:lnTo>
                      <a:pt x="102108" y="127635"/>
                    </a:lnTo>
                    <a:close/>
                    <a:moveTo>
                      <a:pt x="102489" y="195739"/>
                    </a:moveTo>
                    <a:lnTo>
                      <a:pt x="102489" y="150400"/>
                    </a:lnTo>
                    <a:lnTo>
                      <a:pt x="0" y="150400"/>
                    </a:lnTo>
                    <a:lnTo>
                      <a:pt x="0" y="131826"/>
                    </a:lnTo>
                    <a:lnTo>
                      <a:pt x="98298" y="0"/>
                    </a:lnTo>
                    <a:lnTo>
                      <a:pt x="129826" y="0"/>
                    </a:lnTo>
                    <a:lnTo>
                      <a:pt x="129826" y="127635"/>
                    </a:lnTo>
                    <a:lnTo>
                      <a:pt x="156305" y="127635"/>
                    </a:lnTo>
                    <a:lnTo>
                      <a:pt x="156305" y="150400"/>
                    </a:lnTo>
                    <a:lnTo>
                      <a:pt x="129826" y="150400"/>
                    </a:lnTo>
                    <a:lnTo>
                      <a:pt x="129826" y="195739"/>
                    </a:lnTo>
                    <a:lnTo>
                      <a:pt x="102489" y="195739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36" name="Freihandform: Form 464">
                <a:extLst>
                  <a:ext uri="{FF2B5EF4-FFF2-40B4-BE49-F238E27FC236}">
                    <a16:creationId xmlns:a16="http://schemas.microsoft.com/office/drawing/2014/main" id="{CE6509FE-913B-ABA6-A525-17C9A2FD3E5C}"/>
                  </a:ext>
                </a:extLst>
              </p:cNvPr>
              <p:cNvSpPr/>
              <p:nvPr/>
            </p:nvSpPr>
            <p:spPr>
              <a:xfrm>
                <a:off x="2414865" y="6547641"/>
                <a:ext cx="95059" cy="86010"/>
              </a:xfrm>
              <a:custGeom>
                <a:avLst/>
                <a:gdLst>
                  <a:gd name="connsiteX0" fmla="*/ 0 w 95059"/>
                  <a:gd name="connsiteY0" fmla="*/ 86011 h 86010"/>
                  <a:gd name="connsiteX1" fmla="*/ 32861 w 95059"/>
                  <a:gd name="connsiteY1" fmla="*/ 42386 h 86010"/>
                  <a:gd name="connsiteX2" fmla="*/ 1429 w 95059"/>
                  <a:gd name="connsiteY2" fmla="*/ 0 h 86010"/>
                  <a:gd name="connsiteX3" fmla="*/ 32195 w 95059"/>
                  <a:gd name="connsiteY3" fmla="*/ 0 h 86010"/>
                  <a:gd name="connsiteX4" fmla="*/ 48292 w 95059"/>
                  <a:gd name="connsiteY4" fmla="*/ 24956 h 86010"/>
                  <a:gd name="connsiteX5" fmla="*/ 64008 w 95059"/>
                  <a:gd name="connsiteY5" fmla="*/ 0 h 86010"/>
                  <a:gd name="connsiteX6" fmla="*/ 93821 w 95059"/>
                  <a:gd name="connsiteY6" fmla="*/ 0 h 86010"/>
                  <a:gd name="connsiteX7" fmla="*/ 62294 w 95059"/>
                  <a:gd name="connsiteY7" fmla="*/ 42005 h 86010"/>
                  <a:gd name="connsiteX8" fmla="*/ 95060 w 95059"/>
                  <a:gd name="connsiteY8" fmla="*/ 86011 h 86010"/>
                  <a:gd name="connsiteX9" fmla="*/ 63818 w 95059"/>
                  <a:gd name="connsiteY9" fmla="*/ 86011 h 86010"/>
                  <a:gd name="connsiteX10" fmla="*/ 47244 w 95059"/>
                  <a:gd name="connsiteY10" fmla="*/ 60103 h 86010"/>
                  <a:gd name="connsiteX11" fmla="*/ 30575 w 95059"/>
                  <a:gd name="connsiteY11" fmla="*/ 86011 h 86010"/>
                  <a:gd name="connsiteX12" fmla="*/ 0 w 95059"/>
                  <a:gd name="connsiteY12" fmla="*/ 86011 h 86010"/>
                  <a:gd name="connsiteX13" fmla="*/ 0 w 95059"/>
                  <a:gd name="connsiteY13" fmla="*/ 86011 h 86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5059" h="86010">
                    <a:moveTo>
                      <a:pt x="0" y="86011"/>
                    </a:moveTo>
                    <a:lnTo>
                      <a:pt x="32861" y="42386"/>
                    </a:lnTo>
                    <a:lnTo>
                      <a:pt x="1429" y="0"/>
                    </a:lnTo>
                    <a:lnTo>
                      <a:pt x="32195" y="0"/>
                    </a:lnTo>
                    <a:lnTo>
                      <a:pt x="48292" y="24956"/>
                    </a:lnTo>
                    <a:lnTo>
                      <a:pt x="64008" y="0"/>
                    </a:lnTo>
                    <a:lnTo>
                      <a:pt x="93821" y="0"/>
                    </a:lnTo>
                    <a:lnTo>
                      <a:pt x="62294" y="42005"/>
                    </a:lnTo>
                    <a:lnTo>
                      <a:pt x="95060" y="86011"/>
                    </a:lnTo>
                    <a:lnTo>
                      <a:pt x="63818" y="86011"/>
                    </a:lnTo>
                    <a:lnTo>
                      <a:pt x="47244" y="60103"/>
                    </a:lnTo>
                    <a:lnTo>
                      <a:pt x="30575" y="86011"/>
                    </a:lnTo>
                    <a:lnTo>
                      <a:pt x="0" y="86011"/>
                    </a:lnTo>
                    <a:lnTo>
                      <a:pt x="0" y="86011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37" name="Freihandform: Form 465">
                <a:extLst>
                  <a:ext uri="{FF2B5EF4-FFF2-40B4-BE49-F238E27FC236}">
                    <a16:creationId xmlns:a16="http://schemas.microsoft.com/office/drawing/2014/main" id="{82BBD71F-D867-AABC-3F8D-9F43DAE9EE32}"/>
                  </a:ext>
                </a:extLst>
              </p:cNvPr>
              <p:cNvSpPr/>
              <p:nvPr/>
            </p:nvSpPr>
            <p:spPr>
              <a:xfrm>
                <a:off x="2285040" y="6542021"/>
                <a:ext cx="139731" cy="209645"/>
              </a:xfrm>
              <a:custGeom>
                <a:avLst/>
                <a:gdLst>
                  <a:gd name="connsiteX0" fmla="*/ 38481 w 139731"/>
                  <a:gd name="connsiteY0" fmla="*/ 174974 h 209645"/>
                  <a:gd name="connsiteX1" fmla="*/ 27908 w 139731"/>
                  <a:gd name="connsiteY1" fmla="*/ 147542 h 209645"/>
                  <a:gd name="connsiteX2" fmla="*/ 39529 w 139731"/>
                  <a:gd name="connsiteY2" fmla="*/ 118681 h 209645"/>
                  <a:gd name="connsiteX3" fmla="*/ 69437 w 139731"/>
                  <a:gd name="connsiteY3" fmla="*/ 108204 h 209645"/>
                  <a:gd name="connsiteX4" fmla="*/ 100393 w 139731"/>
                  <a:gd name="connsiteY4" fmla="*/ 118396 h 209645"/>
                  <a:gd name="connsiteX5" fmla="*/ 112490 w 139731"/>
                  <a:gd name="connsiteY5" fmla="*/ 148400 h 209645"/>
                  <a:gd name="connsiteX6" fmla="*/ 100774 w 139731"/>
                  <a:gd name="connsiteY6" fmla="*/ 176975 h 209645"/>
                  <a:gd name="connsiteX7" fmla="*/ 71342 w 139731"/>
                  <a:gd name="connsiteY7" fmla="*/ 186595 h 209645"/>
                  <a:gd name="connsiteX8" fmla="*/ 38576 w 139731"/>
                  <a:gd name="connsiteY8" fmla="*/ 174974 h 209645"/>
                  <a:gd name="connsiteX9" fmla="*/ 38576 w 139731"/>
                  <a:gd name="connsiteY9" fmla="*/ 174974 h 209645"/>
                  <a:gd name="connsiteX10" fmla="*/ 33909 w 139731"/>
                  <a:gd name="connsiteY10" fmla="*/ 55245 h 209645"/>
                  <a:gd name="connsiteX11" fmla="*/ 42100 w 139731"/>
                  <a:gd name="connsiteY11" fmla="*/ 32861 h 209645"/>
                  <a:gd name="connsiteX12" fmla="*/ 68771 w 139731"/>
                  <a:gd name="connsiteY12" fmla="*/ 23336 h 209645"/>
                  <a:gd name="connsiteX13" fmla="*/ 96393 w 139731"/>
                  <a:gd name="connsiteY13" fmla="*/ 32861 h 209645"/>
                  <a:gd name="connsiteX14" fmla="*/ 105442 w 139731"/>
                  <a:gd name="connsiteY14" fmla="*/ 53816 h 209645"/>
                  <a:gd name="connsiteX15" fmla="*/ 95917 w 139731"/>
                  <a:gd name="connsiteY15" fmla="*/ 76390 h 209645"/>
                  <a:gd name="connsiteX16" fmla="*/ 69532 w 139731"/>
                  <a:gd name="connsiteY16" fmla="*/ 85820 h 209645"/>
                  <a:gd name="connsiteX17" fmla="*/ 44482 w 139731"/>
                  <a:gd name="connsiteY17" fmla="*/ 77724 h 209645"/>
                  <a:gd name="connsiteX18" fmla="*/ 33814 w 139731"/>
                  <a:gd name="connsiteY18" fmla="*/ 55245 h 209645"/>
                  <a:gd name="connsiteX19" fmla="*/ 33814 w 139731"/>
                  <a:gd name="connsiteY19" fmla="*/ 55245 h 209645"/>
                  <a:gd name="connsiteX20" fmla="*/ 109061 w 139731"/>
                  <a:gd name="connsiteY20" fmla="*/ 200977 h 209645"/>
                  <a:gd name="connsiteX21" fmla="*/ 137922 w 139731"/>
                  <a:gd name="connsiteY21" fmla="*/ 161925 h 209645"/>
                  <a:gd name="connsiteX22" fmla="*/ 139732 w 139731"/>
                  <a:gd name="connsiteY22" fmla="*/ 145637 h 209645"/>
                  <a:gd name="connsiteX23" fmla="*/ 126206 w 139731"/>
                  <a:gd name="connsiteY23" fmla="*/ 108680 h 209645"/>
                  <a:gd name="connsiteX24" fmla="*/ 106204 w 139731"/>
                  <a:gd name="connsiteY24" fmla="*/ 95345 h 209645"/>
                  <a:gd name="connsiteX25" fmla="*/ 122967 w 139731"/>
                  <a:gd name="connsiteY25" fmla="*/ 82296 h 209645"/>
                  <a:gd name="connsiteX26" fmla="*/ 132588 w 139731"/>
                  <a:gd name="connsiteY26" fmla="*/ 51435 h 209645"/>
                  <a:gd name="connsiteX27" fmla="*/ 116014 w 139731"/>
                  <a:gd name="connsiteY27" fmla="*/ 15431 h 209645"/>
                  <a:gd name="connsiteX28" fmla="*/ 70199 w 139731"/>
                  <a:gd name="connsiteY28" fmla="*/ 0 h 209645"/>
                  <a:gd name="connsiteX29" fmla="*/ 23527 w 139731"/>
                  <a:gd name="connsiteY29" fmla="*/ 16288 h 209645"/>
                  <a:gd name="connsiteX30" fmla="*/ 7048 w 139731"/>
                  <a:gd name="connsiteY30" fmla="*/ 55340 h 209645"/>
                  <a:gd name="connsiteX31" fmla="*/ 18288 w 139731"/>
                  <a:gd name="connsiteY31" fmla="*/ 84868 h 209645"/>
                  <a:gd name="connsiteX32" fmla="*/ 34861 w 139731"/>
                  <a:gd name="connsiteY32" fmla="*/ 95536 h 209645"/>
                  <a:gd name="connsiteX33" fmla="*/ 8763 w 139731"/>
                  <a:gd name="connsiteY33" fmla="*/ 115633 h 209645"/>
                  <a:gd name="connsiteX34" fmla="*/ 0 w 139731"/>
                  <a:gd name="connsiteY34" fmla="*/ 146780 h 209645"/>
                  <a:gd name="connsiteX35" fmla="*/ 20479 w 139731"/>
                  <a:gd name="connsiteY35" fmla="*/ 193548 h 209645"/>
                  <a:gd name="connsiteX36" fmla="*/ 70675 w 139731"/>
                  <a:gd name="connsiteY36" fmla="*/ 209645 h 209645"/>
                  <a:gd name="connsiteX37" fmla="*/ 108966 w 139731"/>
                  <a:gd name="connsiteY37" fmla="*/ 200787 h 209645"/>
                  <a:gd name="connsiteX38" fmla="*/ 108966 w 139731"/>
                  <a:gd name="connsiteY38" fmla="*/ 200787 h 209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39731" h="209645">
                    <a:moveTo>
                      <a:pt x="38481" y="174974"/>
                    </a:moveTo>
                    <a:cubicBezTo>
                      <a:pt x="31432" y="167259"/>
                      <a:pt x="27908" y="158115"/>
                      <a:pt x="27908" y="147542"/>
                    </a:cubicBezTo>
                    <a:cubicBezTo>
                      <a:pt x="27908" y="135255"/>
                      <a:pt x="31813" y="125635"/>
                      <a:pt x="39529" y="118681"/>
                    </a:cubicBezTo>
                    <a:cubicBezTo>
                      <a:pt x="47244" y="111728"/>
                      <a:pt x="57245" y="108204"/>
                      <a:pt x="69437" y="108204"/>
                    </a:cubicBezTo>
                    <a:cubicBezTo>
                      <a:pt x="81629" y="108204"/>
                      <a:pt x="92392" y="111633"/>
                      <a:pt x="100393" y="118396"/>
                    </a:cubicBezTo>
                    <a:cubicBezTo>
                      <a:pt x="108394" y="125254"/>
                      <a:pt x="112490" y="135160"/>
                      <a:pt x="112490" y="148400"/>
                    </a:cubicBezTo>
                    <a:cubicBezTo>
                      <a:pt x="112490" y="161639"/>
                      <a:pt x="108585" y="170593"/>
                      <a:pt x="100774" y="176975"/>
                    </a:cubicBezTo>
                    <a:cubicBezTo>
                      <a:pt x="92964" y="183356"/>
                      <a:pt x="83153" y="186595"/>
                      <a:pt x="71342" y="186595"/>
                    </a:cubicBezTo>
                    <a:cubicBezTo>
                      <a:pt x="56578" y="186595"/>
                      <a:pt x="45625" y="182785"/>
                      <a:pt x="38576" y="174974"/>
                    </a:cubicBezTo>
                    <a:lnTo>
                      <a:pt x="38576" y="174974"/>
                    </a:lnTo>
                    <a:close/>
                    <a:moveTo>
                      <a:pt x="33909" y="55245"/>
                    </a:moveTo>
                    <a:cubicBezTo>
                      <a:pt x="33909" y="46673"/>
                      <a:pt x="36671" y="39243"/>
                      <a:pt x="42100" y="32861"/>
                    </a:cubicBezTo>
                    <a:cubicBezTo>
                      <a:pt x="47625" y="26479"/>
                      <a:pt x="56483" y="23336"/>
                      <a:pt x="68771" y="23336"/>
                    </a:cubicBezTo>
                    <a:cubicBezTo>
                      <a:pt x="81058" y="23336"/>
                      <a:pt x="90392" y="26479"/>
                      <a:pt x="96393" y="32861"/>
                    </a:cubicBezTo>
                    <a:cubicBezTo>
                      <a:pt x="102394" y="39243"/>
                      <a:pt x="105442" y="46196"/>
                      <a:pt x="105442" y="53816"/>
                    </a:cubicBezTo>
                    <a:cubicBezTo>
                      <a:pt x="105442" y="62579"/>
                      <a:pt x="102298" y="70104"/>
                      <a:pt x="95917" y="76390"/>
                    </a:cubicBezTo>
                    <a:cubicBezTo>
                      <a:pt x="89630" y="82677"/>
                      <a:pt x="80772" y="85820"/>
                      <a:pt x="69532" y="85820"/>
                    </a:cubicBezTo>
                    <a:cubicBezTo>
                      <a:pt x="59912" y="85820"/>
                      <a:pt x="51530" y="83153"/>
                      <a:pt x="44482" y="77724"/>
                    </a:cubicBezTo>
                    <a:cubicBezTo>
                      <a:pt x="37433" y="72295"/>
                      <a:pt x="33814" y="64865"/>
                      <a:pt x="33814" y="55245"/>
                    </a:cubicBezTo>
                    <a:lnTo>
                      <a:pt x="33814" y="55245"/>
                    </a:lnTo>
                    <a:close/>
                    <a:moveTo>
                      <a:pt x="109061" y="200977"/>
                    </a:moveTo>
                    <a:lnTo>
                      <a:pt x="137922" y="161925"/>
                    </a:lnTo>
                    <a:cubicBezTo>
                      <a:pt x="139160" y="156781"/>
                      <a:pt x="139732" y="151352"/>
                      <a:pt x="139732" y="145637"/>
                    </a:cubicBezTo>
                    <a:cubicBezTo>
                      <a:pt x="139732" y="130492"/>
                      <a:pt x="135255" y="118205"/>
                      <a:pt x="126206" y="108680"/>
                    </a:cubicBezTo>
                    <a:cubicBezTo>
                      <a:pt x="121348" y="103632"/>
                      <a:pt x="114681" y="99250"/>
                      <a:pt x="106204" y="95345"/>
                    </a:cubicBezTo>
                    <a:cubicBezTo>
                      <a:pt x="113824" y="91059"/>
                      <a:pt x="119348" y="86773"/>
                      <a:pt x="122967" y="82296"/>
                    </a:cubicBezTo>
                    <a:cubicBezTo>
                      <a:pt x="129349" y="74486"/>
                      <a:pt x="132588" y="64198"/>
                      <a:pt x="132588" y="51435"/>
                    </a:cubicBezTo>
                    <a:cubicBezTo>
                      <a:pt x="132588" y="37719"/>
                      <a:pt x="127063" y="25717"/>
                      <a:pt x="116014" y="15431"/>
                    </a:cubicBezTo>
                    <a:cubicBezTo>
                      <a:pt x="104965" y="5144"/>
                      <a:pt x="89630" y="0"/>
                      <a:pt x="70199" y="0"/>
                    </a:cubicBezTo>
                    <a:cubicBezTo>
                      <a:pt x="50768" y="0"/>
                      <a:pt x="34480" y="5429"/>
                      <a:pt x="23527" y="16288"/>
                    </a:cubicBezTo>
                    <a:cubicBezTo>
                      <a:pt x="12573" y="27146"/>
                      <a:pt x="7048" y="40196"/>
                      <a:pt x="7048" y="55340"/>
                    </a:cubicBezTo>
                    <a:cubicBezTo>
                      <a:pt x="7048" y="67437"/>
                      <a:pt x="10763" y="77343"/>
                      <a:pt x="18288" y="84868"/>
                    </a:cubicBezTo>
                    <a:cubicBezTo>
                      <a:pt x="22288" y="88963"/>
                      <a:pt x="27813" y="92488"/>
                      <a:pt x="34861" y="95536"/>
                    </a:cubicBezTo>
                    <a:cubicBezTo>
                      <a:pt x="23336" y="100203"/>
                      <a:pt x="14573" y="106871"/>
                      <a:pt x="8763" y="115633"/>
                    </a:cubicBezTo>
                    <a:cubicBezTo>
                      <a:pt x="2953" y="124396"/>
                      <a:pt x="0" y="134779"/>
                      <a:pt x="0" y="146780"/>
                    </a:cubicBezTo>
                    <a:cubicBezTo>
                      <a:pt x="0" y="167259"/>
                      <a:pt x="6858" y="182785"/>
                      <a:pt x="20479" y="193548"/>
                    </a:cubicBezTo>
                    <a:cubicBezTo>
                      <a:pt x="34195" y="204311"/>
                      <a:pt x="50863" y="209645"/>
                      <a:pt x="70675" y="209645"/>
                    </a:cubicBezTo>
                    <a:cubicBezTo>
                      <a:pt x="85820" y="209645"/>
                      <a:pt x="98584" y="206692"/>
                      <a:pt x="108966" y="200787"/>
                    </a:cubicBezTo>
                    <a:lnTo>
                      <a:pt x="108966" y="20078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80D8426C-2747-8B76-064D-F5D42E143999}"/>
                </a:ext>
              </a:extLst>
            </p:cNvPr>
            <p:cNvGrpSpPr/>
            <p:nvPr/>
          </p:nvGrpSpPr>
          <p:grpSpPr>
            <a:xfrm>
              <a:off x="2827226" y="6542128"/>
              <a:ext cx="481302" cy="293621"/>
              <a:chOff x="2827226" y="6542128"/>
              <a:chExt cx="481302" cy="293621"/>
            </a:xfrm>
          </p:grpSpPr>
          <p:sp>
            <p:nvSpPr>
              <p:cNvPr id="127" name="Freihandform: Form 452">
                <a:extLst>
                  <a:ext uri="{FF2B5EF4-FFF2-40B4-BE49-F238E27FC236}">
                    <a16:creationId xmlns:a16="http://schemas.microsoft.com/office/drawing/2014/main" id="{C942CC99-C7C8-2928-ADC3-77C33105E0E5}"/>
                  </a:ext>
                </a:extLst>
              </p:cNvPr>
              <p:cNvSpPr/>
              <p:nvPr/>
            </p:nvSpPr>
            <p:spPr>
              <a:xfrm>
                <a:off x="3046568" y="6604972"/>
                <a:ext cx="74432" cy="102688"/>
              </a:xfrm>
              <a:custGeom>
                <a:avLst/>
                <a:gdLst>
                  <a:gd name="connsiteX0" fmla="*/ 5520 w 74432"/>
                  <a:gd name="connsiteY0" fmla="*/ 11630 h 102688"/>
                  <a:gd name="connsiteX1" fmla="*/ 26666 w 74432"/>
                  <a:gd name="connsiteY1" fmla="*/ 31537 h 102688"/>
                  <a:gd name="connsiteX2" fmla="*/ 48859 w 74432"/>
                  <a:gd name="connsiteY2" fmla="*/ 5057 h 102688"/>
                  <a:gd name="connsiteX3" fmla="*/ 74195 w 74432"/>
                  <a:gd name="connsiteY3" fmla="*/ 4772 h 102688"/>
                  <a:gd name="connsiteX4" fmla="*/ 51240 w 74432"/>
                  <a:gd name="connsiteY4" fmla="*/ 26203 h 102688"/>
                  <a:gd name="connsiteX5" fmla="*/ 30285 w 74432"/>
                  <a:gd name="connsiteY5" fmla="*/ 86496 h 102688"/>
                  <a:gd name="connsiteX6" fmla="*/ 14474 w 74432"/>
                  <a:gd name="connsiteY6" fmla="*/ 102689 h 102688"/>
                  <a:gd name="connsiteX7" fmla="*/ 4663 w 74432"/>
                  <a:gd name="connsiteY7" fmla="*/ 86401 h 102688"/>
                  <a:gd name="connsiteX8" fmla="*/ 7139 w 74432"/>
                  <a:gd name="connsiteY8" fmla="*/ 35442 h 102688"/>
                  <a:gd name="connsiteX9" fmla="*/ 186 w 74432"/>
                  <a:gd name="connsiteY9" fmla="*/ 13535 h 102688"/>
                  <a:gd name="connsiteX10" fmla="*/ 5520 w 74432"/>
                  <a:gd name="connsiteY10" fmla="*/ 11439 h 102688"/>
                  <a:gd name="connsiteX11" fmla="*/ 5520 w 74432"/>
                  <a:gd name="connsiteY11" fmla="*/ 11439 h 10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4432" h="102688">
                    <a:moveTo>
                      <a:pt x="5520" y="11630"/>
                    </a:moveTo>
                    <a:cubicBezTo>
                      <a:pt x="10949" y="12011"/>
                      <a:pt x="21808" y="16297"/>
                      <a:pt x="26666" y="31537"/>
                    </a:cubicBezTo>
                    <a:cubicBezTo>
                      <a:pt x="34190" y="17821"/>
                      <a:pt x="39810" y="11820"/>
                      <a:pt x="48859" y="5057"/>
                    </a:cubicBezTo>
                    <a:cubicBezTo>
                      <a:pt x="65337" y="-5325"/>
                      <a:pt x="76195" y="3248"/>
                      <a:pt x="74195" y="4772"/>
                    </a:cubicBezTo>
                    <a:cubicBezTo>
                      <a:pt x="63242" y="8677"/>
                      <a:pt x="55621" y="19345"/>
                      <a:pt x="51240" y="26203"/>
                    </a:cubicBezTo>
                    <a:cubicBezTo>
                      <a:pt x="45239" y="35633"/>
                      <a:pt x="37619" y="58016"/>
                      <a:pt x="30285" y="86496"/>
                    </a:cubicBezTo>
                    <a:cubicBezTo>
                      <a:pt x="27713" y="96497"/>
                      <a:pt x="23141" y="102689"/>
                      <a:pt x="14474" y="102689"/>
                    </a:cubicBezTo>
                    <a:cubicBezTo>
                      <a:pt x="7996" y="102689"/>
                      <a:pt x="3043" y="96593"/>
                      <a:pt x="4663" y="86401"/>
                    </a:cubicBezTo>
                    <a:cubicBezTo>
                      <a:pt x="6282" y="76304"/>
                      <a:pt x="9901" y="48491"/>
                      <a:pt x="7139" y="35442"/>
                    </a:cubicBezTo>
                    <a:cubicBezTo>
                      <a:pt x="4377" y="22583"/>
                      <a:pt x="2281" y="16773"/>
                      <a:pt x="186" y="13535"/>
                    </a:cubicBezTo>
                    <a:cubicBezTo>
                      <a:pt x="-386" y="12582"/>
                      <a:pt x="91" y="10963"/>
                      <a:pt x="5520" y="11439"/>
                    </a:cubicBezTo>
                    <a:lnTo>
                      <a:pt x="5520" y="11439"/>
                    </a:lnTo>
                    <a:close/>
                  </a:path>
                </a:pathLst>
              </a:custGeom>
              <a:solidFill>
                <a:srgbClr val="007C9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24" name="Freihandform: Form 453">
                <a:extLst>
                  <a:ext uri="{FF2B5EF4-FFF2-40B4-BE49-F238E27FC236}">
                    <a16:creationId xmlns:a16="http://schemas.microsoft.com/office/drawing/2014/main" id="{3337B612-8822-6A9D-D18A-8B1125054525}"/>
                  </a:ext>
                </a:extLst>
              </p:cNvPr>
              <p:cNvSpPr/>
              <p:nvPr/>
            </p:nvSpPr>
            <p:spPr>
              <a:xfrm>
                <a:off x="3119186" y="6609402"/>
                <a:ext cx="49529" cy="97697"/>
              </a:xfrm>
              <a:custGeom>
                <a:avLst/>
                <a:gdLst>
                  <a:gd name="connsiteX0" fmla="*/ 29676 w 49529"/>
                  <a:gd name="connsiteY0" fmla="*/ 2628 h 97697"/>
                  <a:gd name="connsiteX1" fmla="*/ 34438 w 49529"/>
                  <a:gd name="connsiteY1" fmla="*/ 17773 h 97697"/>
                  <a:gd name="connsiteX2" fmla="*/ 26914 w 49529"/>
                  <a:gd name="connsiteY2" fmla="*/ 61112 h 97697"/>
                  <a:gd name="connsiteX3" fmla="*/ 47202 w 49529"/>
                  <a:gd name="connsiteY3" fmla="*/ 86829 h 97697"/>
                  <a:gd name="connsiteX4" fmla="*/ 46916 w 49529"/>
                  <a:gd name="connsiteY4" fmla="*/ 90830 h 97697"/>
                  <a:gd name="connsiteX5" fmla="*/ 22056 w 49529"/>
                  <a:gd name="connsiteY5" fmla="*/ 97688 h 97697"/>
                  <a:gd name="connsiteX6" fmla="*/ 53 w 49529"/>
                  <a:gd name="connsiteY6" fmla="*/ 67112 h 97697"/>
                  <a:gd name="connsiteX7" fmla="*/ 11388 w 49529"/>
                  <a:gd name="connsiteY7" fmla="*/ 8819 h 97697"/>
                  <a:gd name="connsiteX8" fmla="*/ 29676 w 49529"/>
                  <a:gd name="connsiteY8" fmla="*/ 2723 h 97697"/>
                  <a:gd name="connsiteX9" fmla="*/ 29676 w 49529"/>
                  <a:gd name="connsiteY9" fmla="*/ 2723 h 97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9529" h="97697">
                    <a:moveTo>
                      <a:pt x="29676" y="2628"/>
                    </a:moveTo>
                    <a:cubicBezTo>
                      <a:pt x="34819" y="6724"/>
                      <a:pt x="36534" y="10343"/>
                      <a:pt x="34438" y="17773"/>
                    </a:cubicBezTo>
                    <a:cubicBezTo>
                      <a:pt x="30057" y="33108"/>
                      <a:pt x="28152" y="49586"/>
                      <a:pt x="26914" y="61112"/>
                    </a:cubicBezTo>
                    <a:cubicBezTo>
                      <a:pt x="24342" y="85210"/>
                      <a:pt x="39391" y="87591"/>
                      <a:pt x="47202" y="86829"/>
                    </a:cubicBezTo>
                    <a:cubicBezTo>
                      <a:pt x="51488" y="86829"/>
                      <a:pt x="48916" y="89591"/>
                      <a:pt x="46916" y="90830"/>
                    </a:cubicBezTo>
                    <a:cubicBezTo>
                      <a:pt x="39773" y="95402"/>
                      <a:pt x="29581" y="97878"/>
                      <a:pt x="22056" y="97688"/>
                    </a:cubicBezTo>
                    <a:cubicBezTo>
                      <a:pt x="6721" y="97211"/>
                      <a:pt x="-709" y="85972"/>
                      <a:pt x="53" y="67112"/>
                    </a:cubicBezTo>
                    <a:cubicBezTo>
                      <a:pt x="529" y="54158"/>
                      <a:pt x="7768" y="19583"/>
                      <a:pt x="11388" y="8819"/>
                    </a:cubicBezTo>
                    <a:cubicBezTo>
                      <a:pt x="15007" y="-1944"/>
                      <a:pt x="24437" y="-1372"/>
                      <a:pt x="29676" y="2723"/>
                    </a:cubicBezTo>
                    <a:lnTo>
                      <a:pt x="29676" y="2723"/>
                    </a:lnTo>
                    <a:close/>
                  </a:path>
                </a:pathLst>
              </a:custGeom>
              <a:solidFill>
                <a:srgbClr val="007C9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025" name="Grafik 186">
                <a:extLst>
                  <a:ext uri="{FF2B5EF4-FFF2-40B4-BE49-F238E27FC236}">
                    <a16:creationId xmlns:a16="http://schemas.microsoft.com/office/drawing/2014/main" id="{801C7660-485C-4446-9F20-B89BC20A818F}"/>
                  </a:ext>
                </a:extLst>
              </p:cNvPr>
              <p:cNvGrpSpPr/>
              <p:nvPr/>
            </p:nvGrpSpPr>
            <p:grpSpPr>
              <a:xfrm>
                <a:off x="2827226" y="6570120"/>
                <a:ext cx="481302" cy="265629"/>
                <a:chOff x="2827226" y="6570120"/>
                <a:chExt cx="481302" cy="265629"/>
              </a:xfrm>
              <a:solidFill>
                <a:srgbClr val="007C96"/>
              </a:solidFill>
            </p:grpSpPr>
            <p:sp>
              <p:nvSpPr>
                <p:cNvPr id="1032" name="Freihandform: Form 460">
                  <a:extLst>
                    <a:ext uri="{FF2B5EF4-FFF2-40B4-BE49-F238E27FC236}">
                      <a16:creationId xmlns:a16="http://schemas.microsoft.com/office/drawing/2014/main" id="{4D175828-AE1C-D0B7-6393-133E9260279D}"/>
                    </a:ext>
                  </a:extLst>
                </p:cNvPr>
                <p:cNvSpPr/>
                <p:nvPr/>
              </p:nvSpPr>
              <p:spPr>
                <a:xfrm>
                  <a:off x="3137584" y="6570120"/>
                  <a:ext cx="28462" cy="25527"/>
                </a:xfrm>
                <a:custGeom>
                  <a:avLst/>
                  <a:gdLst>
                    <a:gd name="connsiteX0" fmla="*/ 39 w 28462"/>
                    <a:gd name="connsiteY0" fmla="*/ 12764 h 25527"/>
                    <a:gd name="connsiteX1" fmla="*/ 15374 w 28462"/>
                    <a:gd name="connsiteY1" fmla="*/ 0 h 25527"/>
                    <a:gd name="connsiteX2" fmla="*/ 28423 w 28462"/>
                    <a:gd name="connsiteY2" fmla="*/ 12764 h 25527"/>
                    <a:gd name="connsiteX3" fmla="*/ 13088 w 28462"/>
                    <a:gd name="connsiteY3" fmla="*/ 25527 h 25527"/>
                    <a:gd name="connsiteX4" fmla="*/ 39 w 28462"/>
                    <a:gd name="connsiteY4" fmla="*/ 12764 h 25527"/>
                    <a:gd name="connsiteX5" fmla="*/ 39 w 28462"/>
                    <a:gd name="connsiteY5" fmla="*/ 12764 h 255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462" h="25527">
                      <a:moveTo>
                        <a:pt x="39" y="12764"/>
                      </a:moveTo>
                      <a:cubicBezTo>
                        <a:pt x="706" y="5715"/>
                        <a:pt x="7564" y="0"/>
                        <a:pt x="15374" y="0"/>
                      </a:cubicBezTo>
                      <a:cubicBezTo>
                        <a:pt x="23184" y="0"/>
                        <a:pt x="28995" y="5715"/>
                        <a:pt x="28423" y="12764"/>
                      </a:cubicBezTo>
                      <a:cubicBezTo>
                        <a:pt x="27757" y="19812"/>
                        <a:pt x="20899" y="25527"/>
                        <a:pt x="13088" y="25527"/>
                      </a:cubicBezTo>
                      <a:cubicBezTo>
                        <a:pt x="5278" y="25527"/>
                        <a:pt x="-533" y="19812"/>
                        <a:pt x="39" y="12764"/>
                      </a:cubicBezTo>
                      <a:lnTo>
                        <a:pt x="39" y="12764"/>
                      </a:lnTo>
                      <a:close/>
                    </a:path>
                  </a:pathLst>
                </a:custGeom>
                <a:solidFill>
                  <a:srgbClr val="007C9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3" name="Freihandform: Form 461">
                  <a:extLst>
                    <a:ext uri="{FF2B5EF4-FFF2-40B4-BE49-F238E27FC236}">
                      <a16:creationId xmlns:a16="http://schemas.microsoft.com/office/drawing/2014/main" id="{CC3E78BF-6A17-43DE-505F-3C1D63EA4897}"/>
                    </a:ext>
                  </a:extLst>
                </p:cNvPr>
                <p:cNvSpPr/>
                <p:nvPr/>
              </p:nvSpPr>
              <p:spPr>
                <a:xfrm>
                  <a:off x="2827226" y="6599866"/>
                  <a:ext cx="481302" cy="160913"/>
                </a:xfrm>
                <a:custGeom>
                  <a:avLst/>
                  <a:gdLst>
                    <a:gd name="connsiteX0" fmla="*/ 391549 w 481302"/>
                    <a:gd name="connsiteY0" fmla="*/ 98746 h 160913"/>
                    <a:gd name="connsiteX1" fmla="*/ 256770 w 481302"/>
                    <a:gd name="connsiteY1" fmla="*/ 157325 h 160913"/>
                    <a:gd name="connsiteX2" fmla="*/ 110562 w 481302"/>
                    <a:gd name="connsiteY2" fmla="*/ 150277 h 160913"/>
                    <a:gd name="connsiteX3" fmla="*/ 739 w 481302"/>
                    <a:gd name="connsiteY3" fmla="*/ 91793 h 160913"/>
                    <a:gd name="connsiteX4" fmla="*/ 4643 w 481302"/>
                    <a:gd name="connsiteY4" fmla="*/ 89507 h 160913"/>
                    <a:gd name="connsiteX5" fmla="*/ 195620 w 481302"/>
                    <a:gd name="connsiteY5" fmla="*/ 145133 h 160913"/>
                    <a:gd name="connsiteX6" fmla="*/ 377928 w 481302"/>
                    <a:gd name="connsiteY6" fmla="*/ 82554 h 160913"/>
                    <a:gd name="connsiteX7" fmla="*/ 370785 w 481302"/>
                    <a:gd name="connsiteY7" fmla="*/ 72267 h 160913"/>
                    <a:gd name="connsiteX8" fmla="*/ 347925 w 481302"/>
                    <a:gd name="connsiteY8" fmla="*/ 19213 h 160913"/>
                    <a:gd name="connsiteX9" fmla="*/ 369927 w 481302"/>
                    <a:gd name="connsiteY9" fmla="*/ 18832 h 160913"/>
                    <a:gd name="connsiteX10" fmla="*/ 395454 w 481302"/>
                    <a:gd name="connsiteY10" fmla="*/ 64837 h 160913"/>
                    <a:gd name="connsiteX11" fmla="*/ 401550 w 481302"/>
                    <a:gd name="connsiteY11" fmla="*/ 58170 h 160913"/>
                    <a:gd name="connsiteX12" fmla="*/ 431459 w 481302"/>
                    <a:gd name="connsiteY12" fmla="*/ 3782 h 160913"/>
                    <a:gd name="connsiteX13" fmla="*/ 437555 w 481302"/>
                    <a:gd name="connsiteY13" fmla="*/ 1401 h 160913"/>
                    <a:gd name="connsiteX14" fmla="*/ 415076 w 481302"/>
                    <a:gd name="connsiteY14" fmla="*/ 77982 h 160913"/>
                    <a:gd name="connsiteX15" fmla="*/ 410314 w 481302"/>
                    <a:gd name="connsiteY15" fmla="*/ 82744 h 160913"/>
                    <a:gd name="connsiteX16" fmla="*/ 462796 w 481302"/>
                    <a:gd name="connsiteY16" fmla="*/ 124083 h 160913"/>
                    <a:gd name="connsiteX17" fmla="*/ 459843 w 481302"/>
                    <a:gd name="connsiteY17" fmla="*/ 137132 h 160913"/>
                    <a:gd name="connsiteX18" fmla="*/ 391835 w 481302"/>
                    <a:gd name="connsiteY18" fmla="*/ 98746 h 160913"/>
                    <a:gd name="connsiteX19" fmla="*/ 391835 w 481302"/>
                    <a:gd name="connsiteY19" fmla="*/ 98746 h 160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481302" h="160913">
                      <a:moveTo>
                        <a:pt x="391549" y="98746"/>
                      </a:moveTo>
                      <a:cubicBezTo>
                        <a:pt x="362784" y="121606"/>
                        <a:pt x="316587" y="149324"/>
                        <a:pt x="256770" y="157325"/>
                      </a:cubicBezTo>
                      <a:cubicBezTo>
                        <a:pt x="208860" y="163707"/>
                        <a:pt x="153710" y="161707"/>
                        <a:pt x="110562" y="150277"/>
                      </a:cubicBezTo>
                      <a:cubicBezTo>
                        <a:pt x="53412" y="135227"/>
                        <a:pt x="10740" y="109033"/>
                        <a:pt x="739" y="91793"/>
                      </a:cubicBezTo>
                      <a:cubicBezTo>
                        <a:pt x="-1738" y="87697"/>
                        <a:pt x="2643" y="88364"/>
                        <a:pt x="4643" y="89507"/>
                      </a:cubicBezTo>
                      <a:cubicBezTo>
                        <a:pt x="63794" y="124083"/>
                        <a:pt x="125992" y="145514"/>
                        <a:pt x="195620" y="145133"/>
                      </a:cubicBezTo>
                      <a:cubicBezTo>
                        <a:pt x="292584" y="144657"/>
                        <a:pt x="348591" y="108748"/>
                        <a:pt x="377928" y="82554"/>
                      </a:cubicBezTo>
                      <a:cubicBezTo>
                        <a:pt x="375357" y="79125"/>
                        <a:pt x="372975" y="75696"/>
                        <a:pt x="370785" y="72267"/>
                      </a:cubicBezTo>
                      <a:cubicBezTo>
                        <a:pt x="351925" y="42930"/>
                        <a:pt x="348591" y="25975"/>
                        <a:pt x="347925" y="19213"/>
                      </a:cubicBezTo>
                      <a:cubicBezTo>
                        <a:pt x="347258" y="12450"/>
                        <a:pt x="362689" y="-1838"/>
                        <a:pt x="369927" y="18832"/>
                      </a:cubicBezTo>
                      <a:cubicBezTo>
                        <a:pt x="373071" y="27976"/>
                        <a:pt x="381262" y="45502"/>
                        <a:pt x="395454" y="64837"/>
                      </a:cubicBezTo>
                      <a:cubicBezTo>
                        <a:pt x="397740" y="62266"/>
                        <a:pt x="400122" y="59694"/>
                        <a:pt x="401550" y="58170"/>
                      </a:cubicBezTo>
                      <a:cubicBezTo>
                        <a:pt x="415076" y="43120"/>
                        <a:pt x="424887" y="25213"/>
                        <a:pt x="431459" y="3782"/>
                      </a:cubicBezTo>
                      <a:cubicBezTo>
                        <a:pt x="432411" y="1210"/>
                        <a:pt x="434507" y="-1838"/>
                        <a:pt x="437555" y="1401"/>
                      </a:cubicBezTo>
                      <a:cubicBezTo>
                        <a:pt x="458700" y="29500"/>
                        <a:pt x="425363" y="68457"/>
                        <a:pt x="415076" y="77982"/>
                      </a:cubicBezTo>
                      <a:cubicBezTo>
                        <a:pt x="413742" y="79315"/>
                        <a:pt x="411933" y="81220"/>
                        <a:pt x="410314" y="82744"/>
                      </a:cubicBezTo>
                      <a:cubicBezTo>
                        <a:pt x="424029" y="97699"/>
                        <a:pt x="441270" y="112462"/>
                        <a:pt x="462796" y="124083"/>
                      </a:cubicBezTo>
                      <a:cubicBezTo>
                        <a:pt x="478608" y="132655"/>
                        <a:pt x="496324" y="143895"/>
                        <a:pt x="459843" y="137132"/>
                      </a:cubicBezTo>
                      <a:cubicBezTo>
                        <a:pt x="432888" y="132179"/>
                        <a:pt x="409837" y="117320"/>
                        <a:pt x="391835" y="98746"/>
                      </a:cubicBezTo>
                      <a:lnTo>
                        <a:pt x="391835" y="98746"/>
                      </a:lnTo>
                      <a:close/>
                    </a:path>
                  </a:pathLst>
                </a:custGeom>
                <a:solidFill>
                  <a:srgbClr val="007C9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4" name="Freihandform: Form 462">
                  <a:extLst>
                    <a:ext uri="{FF2B5EF4-FFF2-40B4-BE49-F238E27FC236}">
                      <a16:creationId xmlns:a16="http://schemas.microsoft.com/office/drawing/2014/main" id="{65BD08B8-CFE4-53C2-BAA3-891EC00F65A5}"/>
                    </a:ext>
                  </a:extLst>
                </p:cNvPr>
                <p:cNvSpPr/>
                <p:nvPr/>
              </p:nvSpPr>
              <p:spPr>
                <a:xfrm>
                  <a:off x="3081425" y="6765388"/>
                  <a:ext cx="225076" cy="70361"/>
                </a:xfrm>
                <a:custGeom>
                  <a:avLst/>
                  <a:gdLst>
                    <a:gd name="connsiteX0" fmla="*/ 0 w 225076"/>
                    <a:gd name="connsiteY0" fmla="*/ 42190 h 70361"/>
                    <a:gd name="connsiteX1" fmla="*/ 33814 w 225076"/>
                    <a:gd name="connsiteY1" fmla="*/ 16187 h 70361"/>
                    <a:gd name="connsiteX2" fmla="*/ 67628 w 225076"/>
                    <a:gd name="connsiteY2" fmla="*/ 90 h 70361"/>
                    <a:gd name="connsiteX3" fmla="*/ 92297 w 225076"/>
                    <a:gd name="connsiteY3" fmla="*/ 3424 h 70361"/>
                    <a:gd name="connsiteX4" fmla="*/ 128016 w 225076"/>
                    <a:gd name="connsiteY4" fmla="*/ 9139 h 70361"/>
                    <a:gd name="connsiteX5" fmla="*/ 127349 w 225076"/>
                    <a:gd name="connsiteY5" fmla="*/ 20759 h 70361"/>
                    <a:gd name="connsiteX6" fmla="*/ 94679 w 225076"/>
                    <a:gd name="connsiteY6" fmla="*/ 21997 h 70361"/>
                    <a:gd name="connsiteX7" fmla="*/ 84011 w 225076"/>
                    <a:gd name="connsiteY7" fmla="*/ 27331 h 70361"/>
                    <a:gd name="connsiteX8" fmla="*/ 99060 w 225076"/>
                    <a:gd name="connsiteY8" fmla="*/ 38761 h 70361"/>
                    <a:gd name="connsiteX9" fmla="*/ 151543 w 225076"/>
                    <a:gd name="connsiteY9" fmla="*/ 29713 h 70361"/>
                    <a:gd name="connsiteX10" fmla="*/ 206026 w 225076"/>
                    <a:gd name="connsiteY10" fmla="*/ 15139 h 70361"/>
                    <a:gd name="connsiteX11" fmla="*/ 224980 w 225076"/>
                    <a:gd name="connsiteY11" fmla="*/ 20854 h 70361"/>
                    <a:gd name="connsiteX12" fmla="*/ 173927 w 225076"/>
                    <a:gd name="connsiteY12" fmla="*/ 42571 h 70361"/>
                    <a:gd name="connsiteX13" fmla="*/ 110871 w 225076"/>
                    <a:gd name="connsiteY13" fmla="*/ 70003 h 70361"/>
                    <a:gd name="connsiteX14" fmla="*/ 38290 w 225076"/>
                    <a:gd name="connsiteY14" fmla="*/ 52192 h 70361"/>
                    <a:gd name="connsiteX15" fmla="*/ 95 w 225076"/>
                    <a:gd name="connsiteY15" fmla="*/ 42286 h 70361"/>
                    <a:gd name="connsiteX16" fmla="*/ 95 w 225076"/>
                    <a:gd name="connsiteY16" fmla="*/ 42286 h 70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25076" h="70361">
                      <a:moveTo>
                        <a:pt x="0" y="42190"/>
                      </a:moveTo>
                      <a:cubicBezTo>
                        <a:pt x="476" y="28474"/>
                        <a:pt x="24289" y="21140"/>
                        <a:pt x="33814" y="16187"/>
                      </a:cubicBezTo>
                      <a:cubicBezTo>
                        <a:pt x="43339" y="11234"/>
                        <a:pt x="59817" y="757"/>
                        <a:pt x="67628" y="90"/>
                      </a:cubicBezTo>
                      <a:cubicBezTo>
                        <a:pt x="75438" y="-577"/>
                        <a:pt x="86487" y="2662"/>
                        <a:pt x="92297" y="3424"/>
                      </a:cubicBezTo>
                      <a:cubicBezTo>
                        <a:pt x="98107" y="4186"/>
                        <a:pt x="121729" y="8853"/>
                        <a:pt x="128016" y="9139"/>
                      </a:cubicBezTo>
                      <a:cubicBezTo>
                        <a:pt x="134207" y="9424"/>
                        <a:pt x="138208" y="16949"/>
                        <a:pt x="127349" y="20759"/>
                      </a:cubicBezTo>
                      <a:cubicBezTo>
                        <a:pt x="116491" y="24569"/>
                        <a:pt x="101251" y="22950"/>
                        <a:pt x="94679" y="21997"/>
                      </a:cubicBezTo>
                      <a:cubicBezTo>
                        <a:pt x="88106" y="20950"/>
                        <a:pt x="83629" y="23140"/>
                        <a:pt x="84011" y="27331"/>
                      </a:cubicBezTo>
                      <a:cubicBezTo>
                        <a:pt x="84392" y="31522"/>
                        <a:pt x="87630" y="36952"/>
                        <a:pt x="99060" y="38761"/>
                      </a:cubicBezTo>
                      <a:cubicBezTo>
                        <a:pt x="115538" y="41428"/>
                        <a:pt x="135064" y="36856"/>
                        <a:pt x="151543" y="29713"/>
                      </a:cubicBezTo>
                      <a:cubicBezTo>
                        <a:pt x="162592" y="24855"/>
                        <a:pt x="189929" y="16378"/>
                        <a:pt x="206026" y="15139"/>
                      </a:cubicBezTo>
                      <a:cubicBezTo>
                        <a:pt x="216884" y="14282"/>
                        <a:pt x="226123" y="17044"/>
                        <a:pt x="224980" y="20854"/>
                      </a:cubicBezTo>
                      <a:cubicBezTo>
                        <a:pt x="223742" y="24950"/>
                        <a:pt x="187071" y="33999"/>
                        <a:pt x="173927" y="42571"/>
                      </a:cubicBezTo>
                      <a:cubicBezTo>
                        <a:pt x="162496" y="50096"/>
                        <a:pt x="142113" y="67432"/>
                        <a:pt x="110871" y="70003"/>
                      </a:cubicBezTo>
                      <a:cubicBezTo>
                        <a:pt x="79724" y="72575"/>
                        <a:pt x="61341" y="60764"/>
                        <a:pt x="38290" y="52192"/>
                      </a:cubicBezTo>
                      <a:cubicBezTo>
                        <a:pt x="15240" y="43524"/>
                        <a:pt x="95" y="42286"/>
                        <a:pt x="95" y="42286"/>
                      </a:cubicBezTo>
                      <a:lnTo>
                        <a:pt x="95" y="42286"/>
                      </a:lnTo>
                      <a:close/>
                    </a:path>
                  </a:pathLst>
                </a:custGeom>
                <a:solidFill>
                  <a:srgbClr val="007C9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027" name="Freihandform: Form 455">
                <a:extLst>
                  <a:ext uri="{FF2B5EF4-FFF2-40B4-BE49-F238E27FC236}">
                    <a16:creationId xmlns:a16="http://schemas.microsoft.com/office/drawing/2014/main" id="{EB4C547F-4DED-D398-C57B-FEC369071BDE}"/>
                  </a:ext>
                </a:extLst>
              </p:cNvPr>
              <p:cNvSpPr/>
              <p:nvPr/>
            </p:nvSpPr>
            <p:spPr>
              <a:xfrm>
                <a:off x="3244969" y="6758945"/>
                <a:ext cx="60510" cy="27615"/>
              </a:xfrm>
              <a:custGeom>
                <a:avLst/>
                <a:gdLst>
                  <a:gd name="connsiteX0" fmla="*/ 3620 w 60510"/>
                  <a:gd name="connsiteY0" fmla="*/ 26821 h 27615"/>
                  <a:gd name="connsiteX1" fmla="*/ 3144 w 60510"/>
                  <a:gd name="connsiteY1" fmla="*/ 23297 h 27615"/>
                  <a:gd name="connsiteX2" fmla="*/ 48387 w 60510"/>
                  <a:gd name="connsiteY2" fmla="*/ 56 h 27615"/>
                  <a:gd name="connsiteX3" fmla="*/ 58008 w 60510"/>
                  <a:gd name="connsiteY3" fmla="*/ 7009 h 27615"/>
                  <a:gd name="connsiteX4" fmla="*/ 44482 w 60510"/>
                  <a:gd name="connsiteY4" fmla="*/ 16058 h 27615"/>
                  <a:gd name="connsiteX5" fmla="*/ 3620 w 60510"/>
                  <a:gd name="connsiteY5" fmla="*/ 26821 h 27615"/>
                  <a:gd name="connsiteX6" fmla="*/ 3620 w 60510"/>
                  <a:gd name="connsiteY6" fmla="*/ 26821 h 27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510" h="27615">
                    <a:moveTo>
                      <a:pt x="3620" y="26821"/>
                    </a:moveTo>
                    <a:cubicBezTo>
                      <a:pt x="-571" y="28821"/>
                      <a:pt x="-1619" y="26821"/>
                      <a:pt x="3144" y="23297"/>
                    </a:cubicBezTo>
                    <a:cubicBezTo>
                      <a:pt x="17336" y="12534"/>
                      <a:pt x="39053" y="532"/>
                      <a:pt x="48387" y="56"/>
                    </a:cubicBezTo>
                    <a:cubicBezTo>
                      <a:pt x="60770" y="-515"/>
                      <a:pt x="63056" y="3390"/>
                      <a:pt x="58008" y="7009"/>
                    </a:cubicBezTo>
                    <a:cubicBezTo>
                      <a:pt x="53054" y="10629"/>
                      <a:pt x="48006" y="13677"/>
                      <a:pt x="44482" y="16058"/>
                    </a:cubicBezTo>
                    <a:cubicBezTo>
                      <a:pt x="37719" y="14629"/>
                      <a:pt x="18765" y="19773"/>
                      <a:pt x="3620" y="26821"/>
                    </a:cubicBezTo>
                    <a:lnTo>
                      <a:pt x="3620" y="26821"/>
                    </a:lnTo>
                    <a:close/>
                  </a:path>
                </a:pathLst>
              </a:custGeom>
              <a:solidFill>
                <a:srgbClr val="007C9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28" name="Freihandform: Form 456">
                <a:extLst>
                  <a:ext uri="{FF2B5EF4-FFF2-40B4-BE49-F238E27FC236}">
                    <a16:creationId xmlns:a16="http://schemas.microsoft.com/office/drawing/2014/main" id="{D1214F69-4F02-32AA-760C-F09C42128D50}"/>
                  </a:ext>
                </a:extLst>
              </p:cNvPr>
              <p:cNvSpPr/>
              <p:nvPr/>
            </p:nvSpPr>
            <p:spPr>
              <a:xfrm>
                <a:off x="3219919" y="6761370"/>
                <a:ext cx="39807" cy="33635"/>
              </a:xfrm>
              <a:custGeom>
                <a:avLst/>
                <a:gdLst>
                  <a:gd name="connsiteX0" fmla="*/ 0 w 39807"/>
                  <a:gd name="connsiteY0" fmla="*/ 33636 h 33635"/>
                  <a:gd name="connsiteX1" fmla="*/ 26098 w 39807"/>
                  <a:gd name="connsiteY1" fmla="*/ 4299 h 33635"/>
                  <a:gd name="connsiteX2" fmla="*/ 37624 w 39807"/>
                  <a:gd name="connsiteY2" fmla="*/ 5632 h 33635"/>
                  <a:gd name="connsiteX3" fmla="*/ 0 w 39807"/>
                  <a:gd name="connsiteY3" fmla="*/ 33636 h 33635"/>
                  <a:gd name="connsiteX4" fmla="*/ 0 w 39807"/>
                  <a:gd name="connsiteY4" fmla="*/ 33636 h 33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807" h="33635">
                    <a:moveTo>
                      <a:pt x="0" y="33636"/>
                    </a:moveTo>
                    <a:cubicBezTo>
                      <a:pt x="8572" y="24873"/>
                      <a:pt x="18859" y="9442"/>
                      <a:pt x="26098" y="4299"/>
                    </a:cubicBezTo>
                    <a:cubicBezTo>
                      <a:pt x="33338" y="-845"/>
                      <a:pt x="44577" y="-2464"/>
                      <a:pt x="37624" y="5632"/>
                    </a:cubicBezTo>
                    <a:cubicBezTo>
                      <a:pt x="30671" y="13633"/>
                      <a:pt x="11335" y="32874"/>
                      <a:pt x="0" y="33636"/>
                    </a:cubicBezTo>
                    <a:lnTo>
                      <a:pt x="0" y="33636"/>
                    </a:lnTo>
                    <a:close/>
                  </a:path>
                </a:pathLst>
              </a:custGeom>
              <a:solidFill>
                <a:srgbClr val="007C9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029" name="Grafik 186">
                <a:extLst>
                  <a:ext uri="{FF2B5EF4-FFF2-40B4-BE49-F238E27FC236}">
                    <a16:creationId xmlns:a16="http://schemas.microsoft.com/office/drawing/2014/main" id="{3EE68294-BDF2-E875-8033-9A20A5D302BA}"/>
                  </a:ext>
                </a:extLst>
              </p:cNvPr>
              <p:cNvGrpSpPr/>
              <p:nvPr/>
            </p:nvGrpSpPr>
            <p:grpSpPr>
              <a:xfrm>
                <a:off x="2879909" y="6542128"/>
                <a:ext cx="189343" cy="181491"/>
                <a:chOff x="2879909" y="6542128"/>
                <a:chExt cx="189343" cy="181491"/>
              </a:xfrm>
              <a:solidFill>
                <a:srgbClr val="007C96"/>
              </a:solidFill>
            </p:grpSpPr>
            <p:sp>
              <p:nvSpPr>
                <p:cNvPr id="1030" name="Freihandform: Form 458">
                  <a:extLst>
                    <a:ext uri="{FF2B5EF4-FFF2-40B4-BE49-F238E27FC236}">
                      <a16:creationId xmlns:a16="http://schemas.microsoft.com/office/drawing/2014/main" id="{3DC6535D-F546-4C57-A372-8D03AC5358BD}"/>
                    </a:ext>
                  </a:extLst>
                </p:cNvPr>
                <p:cNvSpPr/>
                <p:nvPr/>
              </p:nvSpPr>
              <p:spPr>
                <a:xfrm>
                  <a:off x="2879909" y="6605208"/>
                  <a:ext cx="92260" cy="102335"/>
                </a:xfrm>
                <a:custGeom>
                  <a:avLst/>
                  <a:gdLst>
                    <a:gd name="connsiteX0" fmla="*/ 74167 w 92260"/>
                    <a:gd name="connsiteY0" fmla="*/ 100929 h 102335"/>
                    <a:gd name="connsiteX1" fmla="*/ 85692 w 92260"/>
                    <a:gd name="connsiteY1" fmla="*/ 102262 h 102335"/>
                    <a:gd name="connsiteX2" fmla="*/ 88740 w 92260"/>
                    <a:gd name="connsiteY2" fmla="*/ 96642 h 102335"/>
                    <a:gd name="connsiteX3" fmla="*/ 87312 w 92260"/>
                    <a:gd name="connsiteY3" fmla="*/ 43969 h 102335"/>
                    <a:gd name="connsiteX4" fmla="*/ 86740 w 92260"/>
                    <a:gd name="connsiteY4" fmla="*/ 30920 h 102335"/>
                    <a:gd name="connsiteX5" fmla="*/ 75977 w 92260"/>
                    <a:gd name="connsiteY5" fmla="*/ 25491 h 102335"/>
                    <a:gd name="connsiteX6" fmla="*/ 56070 w 92260"/>
                    <a:gd name="connsiteY6" fmla="*/ 62162 h 102335"/>
                    <a:gd name="connsiteX7" fmla="*/ 37686 w 92260"/>
                    <a:gd name="connsiteY7" fmla="*/ 83403 h 102335"/>
                    <a:gd name="connsiteX8" fmla="*/ 32543 w 92260"/>
                    <a:gd name="connsiteY8" fmla="*/ 39778 h 102335"/>
                    <a:gd name="connsiteX9" fmla="*/ 79977 w 92260"/>
                    <a:gd name="connsiteY9" fmla="*/ 16537 h 102335"/>
                    <a:gd name="connsiteX10" fmla="*/ 89883 w 92260"/>
                    <a:gd name="connsiteY10" fmla="*/ 21966 h 102335"/>
                    <a:gd name="connsiteX11" fmla="*/ 92169 w 92260"/>
                    <a:gd name="connsiteY11" fmla="*/ 20919 h 102335"/>
                    <a:gd name="connsiteX12" fmla="*/ 58737 w 92260"/>
                    <a:gd name="connsiteY12" fmla="*/ 59 h 102335"/>
                    <a:gd name="connsiteX13" fmla="*/ 28352 w 92260"/>
                    <a:gd name="connsiteY13" fmla="*/ 11298 h 102335"/>
                    <a:gd name="connsiteX14" fmla="*/ 634 w 92260"/>
                    <a:gd name="connsiteY14" fmla="*/ 61971 h 102335"/>
                    <a:gd name="connsiteX15" fmla="*/ 21684 w 92260"/>
                    <a:gd name="connsiteY15" fmla="*/ 100738 h 102335"/>
                    <a:gd name="connsiteX16" fmla="*/ 59213 w 92260"/>
                    <a:gd name="connsiteY16" fmla="*/ 78640 h 102335"/>
                    <a:gd name="connsiteX17" fmla="*/ 74167 w 92260"/>
                    <a:gd name="connsiteY17" fmla="*/ 100929 h 102335"/>
                    <a:gd name="connsiteX18" fmla="*/ 74167 w 92260"/>
                    <a:gd name="connsiteY18" fmla="*/ 100929 h 102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92260" h="102335">
                      <a:moveTo>
                        <a:pt x="74167" y="100929"/>
                      </a:moveTo>
                      <a:cubicBezTo>
                        <a:pt x="78263" y="102357"/>
                        <a:pt x="82549" y="102453"/>
                        <a:pt x="85692" y="102262"/>
                      </a:cubicBezTo>
                      <a:cubicBezTo>
                        <a:pt x="89217" y="101881"/>
                        <a:pt x="89217" y="98357"/>
                        <a:pt x="88740" y="96642"/>
                      </a:cubicBezTo>
                      <a:cubicBezTo>
                        <a:pt x="82358" y="73782"/>
                        <a:pt x="87312" y="43969"/>
                        <a:pt x="87312" y="43969"/>
                      </a:cubicBezTo>
                      <a:cubicBezTo>
                        <a:pt x="88740" y="37302"/>
                        <a:pt x="87407" y="32063"/>
                        <a:pt x="86740" y="30920"/>
                      </a:cubicBezTo>
                      <a:cubicBezTo>
                        <a:pt x="84073" y="26443"/>
                        <a:pt x="79977" y="23586"/>
                        <a:pt x="75977" y="25491"/>
                      </a:cubicBezTo>
                      <a:cubicBezTo>
                        <a:pt x="69595" y="27967"/>
                        <a:pt x="62261" y="53208"/>
                        <a:pt x="56070" y="62162"/>
                      </a:cubicBezTo>
                      <a:cubicBezTo>
                        <a:pt x="50640" y="69972"/>
                        <a:pt x="47021" y="78354"/>
                        <a:pt x="37686" y="83403"/>
                      </a:cubicBezTo>
                      <a:cubicBezTo>
                        <a:pt x="20256" y="90451"/>
                        <a:pt x="25685" y="54542"/>
                        <a:pt x="32543" y="39778"/>
                      </a:cubicBezTo>
                      <a:cubicBezTo>
                        <a:pt x="38067" y="28158"/>
                        <a:pt x="52545" y="6536"/>
                        <a:pt x="79977" y="16537"/>
                      </a:cubicBezTo>
                      <a:cubicBezTo>
                        <a:pt x="79977" y="16537"/>
                        <a:pt x="86454" y="19109"/>
                        <a:pt x="89883" y="21966"/>
                      </a:cubicBezTo>
                      <a:cubicBezTo>
                        <a:pt x="90645" y="22538"/>
                        <a:pt x="91883" y="22728"/>
                        <a:pt x="92169" y="20919"/>
                      </a:cubicBezTo>
                      <a:cubicBezTo>
                        <a:pt x="93122" y="14727"/>
                        <a:pt x="86931" y="-1084"/>
                        <a:pt x="58737" y="59"/>
                      </a:cubicBezTo>
                      <a:cubicBezTo>
                        <a:pt x="51402" y="59"/>
                        <a:pt x="37972" y="2726"/>
                        <a:pt x="28352" y="11298"/>
                      </a:cubicBezTo>
                      <a:cubicBezTo>
                        <a:pt x="7492" y="29777"/>
                        <a:pt x="2349" y="53304"/>
                        <a:pt x="634" y="61971"/>
                      </a:cubicBezTo>
                      <a:cubicBezTo>
                        <a:pt x="-3462" y="95023"/>
                        <a:pt x="13302" y="99786"/>
                        <a:pt x="21684" y="100738"/>
                      </a:cubicBezTo>
                      <a:cubicBezTo>
                        <a:pt x="34543" y="102262"/>
                        <a:pt x="52736" y="91023"/>
                        <a:pt x="59213" y="78640"/>
                      </a:cubicBezTo>
                      <a:cubicBezTo>
                        <a:pt x="59594" y="90451"/>
                        <a:pt x="66261" y="98166"/>
                        <a:pt x="74167" y="100929"/>
                      </a:cubicBezTo>
                      <a:lnTo>
                        <a:pt x="74167" y="100929"/>
                      </a:lnTo>
                      <a:close/>
                    </a:path>
                  </a:pathLst>
                </a:custGeom>
                <a:solidFill>
                  <a:srgbClr val="007C9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031" name="Freihandform: Form 459">
                  <a:extLst>
                    <a:ext uri="{FF2B5EF4-FFF2-40B4-BE49-F238E27FC236}">
                      <a16:creationId xmlns:a16="http://schemas.microsoft.com/office/drawing/2014/main" id="{E23F0ABE-5048-649B-D1DF-3E32687D84A3}"/>
                    </a:ext>
                  </a:extLst>
                </p:cNvPr>
                <p:cNvSpPr/>
                <p:nvPr/>
              </p:nvSpPr>
              <p:spPr>
                <a:xfrm>
                  <a:off x="2976182" y="6542128"/>
                  <a:ext cx="93070" cy="181491"/>
                </a:xfrm>
                <a:custGeom>
                  <a:avLst/>
                  <a:gdLst>
                    <a:gd name="connsiteX0" fmla="*/ 51236 w 93070"/>
                    <a:gd name="connsiteY0" fmla="*/ 63520 h 181491"/>
                    <a:gd name="connsiteX1" fmla="*/ 87717 w 93070"/>
                    <a:gd name="connsiteY1" fmla="*/ 61996 h 181491"/>
                    <a:gd name="connsiteX2" fmla="*/ 85812 w 93070"/>
                    <a:gd name="connsiteY2" fmla="*/ 51328 h 181491"/>
                    <a:gd name="connsiteX3" fmla="*/ 54761 w 93070"/>
                    <a:gd name="connsiteY3" fmla="*/ 48756 h 181491"/>
                    <a:gd name="connsiteX4" fmla="*/ 54761 w 93070"/>
                    <a:gd name="connsiteY4" fmla="*/ 48756 h 181491"/>
                    <a:gd name="connsiteX5" fmla="*/ 67239 w 93070"/>
                    <a:gd name="connsiteY5" fmla="*/ 9704 h 181491"/>
                    <a:gd name="connsiteX6" fmla="*/ 64286 w 93070"/>
                    <a:gd name="connsiteY6" fmla="*/ 84 h 181491"/>
                    <a:gd name="connsiteX7" fmla="*/ 40759 w 93070"/>
                    <a:gd name="connsiteY7" fmla="*/ 22182 h 181491"/>
                    <a:gd name="connsiteX8" fmla="*/ 30758 w 93070"/>
                    <a:gd name="connsiteY8" fmla="*/ 49518 h 181491"/>
                    <a:gd name="connsiteX9" fmla="*/ 5707 w 93070"/>
                    <a:gd name="connsiteY9" fmla="*/ 52852 h 181491"/>
                    <a:gd name="connsiteX10" fmla="*/ 373 w 93070"/>
                    <a:gd name="connsiteY10" fmla="*/ 66759 h 181491"/>
                    <a:gd name="connsiteX11" fmla="*/ 8946 w 93070"/>
                    <a:gd name="connsiteY11" fmla="*/ 70378 h 181491"/>
                    <a:gd name="connsiteX12" fmla="*/ 25805 w 93070"/>
                    <a:gd name="connsiteY12" fmla="*/ 67140 h 181491"/>
                    <a:gd name="connsiteX13" fmla="*/ 16566 w 93070"/>
                    <a:gd name="connsiteY13" fmla="*/ 131243 h 181491"/>
                    <a:gd name="connsiteX14" fmla="*/ 51046 w 93070"/>
                    <a:gd name="connsiteY14" fmla="*/ 181440 h 181491"/>
                    <a:gd name="connsiteX15" fmla="*/ 70667 w 93070"/>
                    <a:gd name="connsiteY15" fmla="*/ 176201 h 181491"/>
                    <a:gd name="connsiteX16" fmla="*/ 69810 w 93070"/>
                    <a:gd name="connsiteY16" fmla="*/ 173534 h 181491"/>
                    <a:gd name="connsiteX17" fmla="*/ 43712 w 93070"/>
                    <a:gd name="connsiteY17" fmla="*/ 147150 h 181491"/>
                    <a:gd name="connsiteX18" fmla="*/ 49427 w 93070"/>
                    <a:gd name="connsiteY18" fmla="*/ 70854 h 181491"/>
                    <a:gd name="connsiteX19" fmla="*/ 51236 w 93070"/>
                    <a:gd name="connsiteY19" fmla="*/ 63520 h 181491"/>
                    <a:gd name="connsiteX20" fmla="*/ 51236 w 93070"/>
                    <a:gd name="connsiteY20" fmla="*/ 63520 h 1814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93070" h="181491">
                      <a:moveTo>
                        <a:pt x="51236" y="63520"/>
                      </a:moveTo>
                      <a:cubicBezTo>
                        <a:pt x="66953" y="61806"/>
                        <a:pt x="78668" y="61710"/>
                        <a:pt x="87717" y="61996"/>
                      </a:cubicBezTo>
                      <a:cubicBezTo>
                        <a:pt x="95718" y="62282"/>
                        <a:pt x="94480" y="52566"/>
                        <a:pt x="85812" y="51328"/>
                      </a:cubicBezTo>
                      <a:cubicBezTo>
                        <a:pt x="74858" y="49709"/>
                        <a:pt x="64191" y="48947"/>
                        <a:pt x="54761" y="48756"/>
                      </a:cubicBezTo>
                      <a:lnTo>
                        <a:pt x="54761" y="48756"/>
                      </a:lnTo>
                      <a:cubicBezTo>
                        <a:pt x="58571" y="33135"/>
                        <a:pt x="60952" y="24658"/>
                        <a:pt x="67239" y="9704"/>
                      </a:cubicBezTo>
                      <a:cubicBezTo>
                        <a:pt x="68572" y="6561"/>
                        <a:pt x="69810" y="-869"/>
                        <a:pt x="64286" y="84"/>
                      </a:cubicBezTo>
                      <a:cubicBezTo>
                        <a:pt x="57047" y="941"/>
                        <a:pt x="46379" y="8180"/>
                        <a:pt x="40759" y="22182"/>
                      </a:cubicBezTo>
                      <a:cubicBezTo>
                        <a:pt x="35425" y="35517"/>
                        <a:pt x="32567" y="43803"/>
                        <a:pt x="30758" y="49518"/>
                      </a:cubicBezTo>
                      <a:cubicBezTo>
                        <a:pt x="15327" y="50661"/>
                        <a:pt x="5707" y="52852"/>
                        <a:pt x="5707" y="52852"/>
                      </a:cubicBezTo>
                      <a:cubicBezTo>
                        <a:pt x="-2103" y="56757"/>
                        <a:pt x="373" y="66759"/>
                        <a:pt x="373" y="66759"/>
                      </a:cubicBezTo>
                      <a:cubicBezTo>
                        <a:pt x="1516" y="72569"/>
                        <a:pt x="8946" y="70378"/>
                        <a:pt x="8946" y="70378"/>
                      </a:cubicBezTo>
                      <a:cubicBezTo>
                        <a:pt x="14851" y="69140"/>
                        <a:pt x="20566" y="68092"/>
                        <a:pt x="25805" y="67140"/>
                      </a:cubicBezTo>
                      <a:cubicBezTo>
                        <a:pt x="22661" y="79808"/>
                        <a:pt x="16375" y="107811"/>
                        <a:pt x="16566" y="131243"/>
                      </a:cubicBezTo>
                      <a:cubicBezTo>
                        <a:pt x="15804" y="169057"/>
                        <a:pt x="35139" y="181249"/>
                        <a:pt x="51046" y="181440"/>
                      </a:cubicBezTo>
                      <a:cubicBezTo>
                        <a:pt x="60761" y="181916"/>
                        <a:pt x="67048" y="179058"/>
                        <a:pt x="70667" y="176201"/>
                      </a:cubicBezTo>
                      <a:cubicBezTo>
                        <a:pt x="71906" y="175248"/>
                        <a:pt x="71049" y="173534"/>
                        <a:pt x="69810" y="173534"/>
                      </a:cubicBezTo>
                      <a:cubicBezTo>
                        <a:pt x="55237" y="172677"/>
                        <a:pt x="47426" y="162104"/>
                        <a:pt x="43712" y="147150"/>
                      </a:cubicBezTo>
                      <a:cubicBezTo>
                        <a:pt x="38378" y="125623"/>
                        <a:pt x="43331" y="94953"/>
                        <a:pt x="49427" y="70854"/>
                      </a:cubicBezTo>
                      <a:cubicBezTo>
                        <a:pt x="50093" y="68283"/>
                        <a:pt x="50665" y="65806"/>
                        <a:pt x="51236" y="63520"/>
                      </a:cubicBezTo>
                      <a:lnTo>
                        <a:pt x="51236" y="63520"/>
                      </a:lnTo>
                      <a:close/>
                    </a:path>
                  </a:pathLst>
                </a:custGeom>
                <a:solidFill>
                  <a:srgbClr val="007C9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E985FB76-7A1F-31B4-76CF-A74BF6E7E522}"/>
                </a:ext>
              </a:extLst>
            </p:cNvPr>
            <p:cNvGrpSpPr/>
            <p:nvPr/>
          </p:nvGrpSpPr>
          <p:grpSpPr>
            <a:xfrm>
              <a:off x="4242237" y="6544117"/>
              <a:ext cx="307847" cy="337337"/>
              <a:chOff x="4242237" y="6544117"/>
              <a:chExt cx="307847" cy="337337"/>
            </a:xfrm>
          </p:grpSpPr>
          <p:sp>
            <p:nvSpPr>
              <p:cNvPr id="112" name="Freihandform: Form 437">
                <a:extLst>
                  <a:ext uri="{FF2B5EF4-FFF2-40B4-BE49-F238E27FC236}">
                    <a16:creationId xmlns:a16="http://schemas.microsoft.com/office/drawing/2014/main" id="{2F0049AB-0250-285C-A932-696041145A4A}"/>
                  </a:ext>
                </a:extLst>
              </p:cNvPr>
              <p:cNvSpPr/>
              <p:nvPr/>
            </p:nvSpPr>
            <p:spPr>
              <a:xfrm>
                <a:off x="4325676" y="6544117"/>
                <a:ext cx="19907" cy="113347"/>
              </a:xfrm>
              <a:custGeom>
                <a:avLst/>
                <a:gdLst>
                  <a:gd name="connsiteX0" fmla="*/ 0 w 19907"/>
                  <a:gd name="connsiteY0" fmla="*/ 0 h 113347"/>
                  <a:gd name="connsiteX1" fmla="*/ 19907 w 19907"/>
                  <a:gd name="connsiteY1" fmla="*/ 0 h 113347"/>
                  <a:gd name="connsiteX2" fmla="*/ 19907 w 19907"/>
                  <a:gd name="connsiteY2" fmla="*/ 113348 h 113347"/>
                  <a:gd name="connsiteX3" fmla="*/ 0 w 19907"/>
                  <a:gd name="connsiteY3" fmla="*/ 113348 h 113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907" h="113347">
                    <a:moveTo>
                      <a:pt x="0" y="0"/>
                    </a:moveTo>
                    <a:lnTo>
                      <a:pt x="19907" y="0"/>
                    </a:lnTo>
                    <a:lnTo>
                      <a:pt x="19907" y="113348"/>
                    </a:lnTo>
                    <a:lnTo>
                      <a:pt x="0" y="113348"/>
                    </a:lnTo>
                    <a:close/>
                  </a:path>
                </a:pathLst>
              </a:custGeom>
              <a:solidFill>
                <a:srgbClr val="002D7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3" name="Freihandform: Form 438">
                <a:extLst>
                  <a:ext uri="{FF2B5EF4-FFF2-40B4-BE49-F238E27FC236}">
                    <a16:creationId xmlns:a16="http://schemas.microsoft.com/office/drawing/2014/main" id="{55447B0C-9E4D-F393-E8CB-34E3D0527591}"/>
                  </a:ext>
                </a:extLst>
              </p:cNvPr>
              <p:cNvSpPr/>
              <p:nvPr/>
            </p:nvSpPr>
            <p:spPr>
              <a:xfrm>
                <a:off x="4250143" y="6544212"/>
                <a:ext cx="75533" cy="113347"/>
              </a:xfrm>
              <a:custGeom>
                <a:avLst/>
                <a:gdLst>
                  <a:gd name="connsiteX0" fmla="*/ 65722 w 75533"/>
                  <a:gd name="connsiteY0" fmla="*/ 35719 h 113347"/>
                  <a:gd name="connsiteX1" fmla="*/ 49816 w 75533"/>
                  <a:gd name="connsiteY1" fmla="*/ 32290 h 113347"/>
                  <a:gd name="connsiteX2" fmla="*/ 31528 w 75533"/>
                  <a:gd name="connsiteY2" fmla="*/ 20765 h 113347"/>
                  <a:gd name="connsiteX3" fmla="*/ 20383 w 75533"/>
                  <a:gd name="connsiteY3" fmla="*/ 20765 h 113347"/>
                  <a:gd name="connsiteX4" fmla="*/ 20383 w 75533"/>
                  <a:gd name="connsiteY4" fmla="*/ 113348 h 113347"/>
                  <a:gd name="connsiteX5" fmla="*/ 0 w 75533"/>
                  <a:gd name="connsiteY5" fmla="*/ 113348 h 113347"/>
                  <a:gd name="connsiteX6" fmla="*/ 0 w 75533"/>
                  <a:gd name="connsiteY6" fmla="*/ 0 h 113347"/>
                  <a:gd name="connsiteX7" fmla="*/ 34576 w 75533"/>
                  <a:gd name="connsiteY7" fmla="*/ 0 h 113347"/>
                  <a:gd name="connsiteX8" fmla="*/ 60674 w 75533"/>
                  <a:gd name="connsiteY8" fmla="*/ 15716 h 113347"/>
                  <a:gd name="connsiteX9" fmla="*/ 75533 w 75533"/>
                  <a:gd name="connsiteY9" fmla="*/ 20384 h 113347"/>
                  <a:gd name="connsiteX10" fmla="*/ 65722 w 75533"/>
                  <a:gd name="connsiteY10" fmla="*/ 35814 h 113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5533" h="113347">
                    <a:moveTo>
                      <a:pt x="65722" y="35719"/>
                    </a:moveTo>
                    <a:cubicBezTo>
                      <a:pt x="65722" y="35719"/>
                      <a:pt x="57531" y="39719"/>
                      <a:pt x="49816" y="32290"/>
                    </a:cubicBezTo>
                    <a:cubicBezTo>
                      <a:pt x="45339" y="28004"/>
                      <a:pt x="38862" y="20765"/>
                      <a:pt x="31528" y="20765"/>
                    </a:cubicBezTo>
                    <a:lnTo>
                      <a:pt x="20383" y="20765"/>
                    </a:lnTo>
                    <a:cubicBezTo>
                      <a:pt x="20383" y="20765"/>
                      <a:pt x="20383" y="113348"/>
                      <a:pt x="20383" y="113348"/>
                    </a:cubicBezTo>
                    <a:lnTo>
                      <a:pt x="0" y="113348"/>
                    </a:lnTo>
                    <a:lnTo>
                      <a:pt x="0" y="0"/>
                    </a:lnTo>
                    <a:cubicBezTo>
                      <a:pt x="0" y="0"/>
                      <a:pt x="12573" y="0"/>
                      <a:pt x="34576" y="0"/>
                    </a:cubicBezTo>
                    <a:cubicBezTo>
                      <a:pt x="43243" y="0"/>
                      <a:pt x="50673" y="5715"/>
                      <a:pt x="60674" y="15716"/>
                    </a:cubicBezTo>
                    <a:cubicBezTo>
                      <a:pt x="68104" y="23146"/>
                      <a:pt x="75533" y="20384"/>
                      <a:pt x="75533" y="20384"/>
                    </a:cubicBezTo>
                    <a:lnTo>
                      <a:pt x="65722" y="35814"/>
                    </a:lnTo>
                    <a:close/>
                  </a:path>
                </a:pathLst>
              </a:custGeom>
              <a:solidFill>
                <a:srgbClr val="002D7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4" name="Freihandform: Form 439">
                <a:extLst>
                  <a:ext uri="{FF2B5EF4-FFF2-40B4-BE49-F238E27FC236}">
                    <a16:creationId xmlns:a16="http://schemas.microsoft.com/office/drawing/2014/main" id="{1387822E-C898-FC17-B4D7-F0EC66B16A13}"/>
                  </a:ext>
                </a:extLst>
              </p:cNvPr>
              <p:cNvSpPr/>
              <p:nvPr/>
            </p:nvSpPr>
            <p:spPr>
              <a:xfrm>
                <a:off x="4353108" y="6566691"/>
                <a:ext cx="72199" cy="93630"/>
              </a:xfrm>
              <a:custGeom>
                <a:avLst/>
                <a:gdLst>
                  <a:gd name="connsiteX0" fmla="*/ 72199 w 72199"/>
                  <a:gd name="connsiteY0" fmla="*/ 27051 h 93630"/>
                  <a:gd name="connsiteX1" fmla="*/ 72199 w 72199"/>
                  <a:gd name="connsiteY1" fmla="*/ 93631 h 93630"/>
                  <a:gd name="connsiteX2" fmla="*/ 25622 w 72199"/>
                  <a:gd name="connsiteY2" fmla="*/ 93631 h 93630"/>
                  <a:gd name="connsiteX3" fmla="*/ 0 w 72199"/>
                  <a:gd name="connsiteY3" fmla="*/ 65056 h 93630"/>
                  <a:gd name="connsiteX4" fmla="*/ 28861 w 72199"/>
                  <a:gd name="connsiteY4" fmla="*/ 36195 h 93630"/>
                  <a:gd name="connsiteX5" fmla="*/ 38100 w 72199"/>
                  <a:gd name="connsiteY5" fmla="*/ 36290 h 93630"/>
                  <a:gd name="connsiteX6" fmla="*/ 50101 w 72199"/>
                  <a:gd name="connsiteY6" fmla="*/ 56769 h 93630"/>
                  <a:gd name="connsiteX7" fmla="*/ 29432 w 72199"/>
                  <a:gd name="connsiteY7" fmla="*/ 56769 h 93630"/>
                  <a:gd name="connsiteX8" fmla="*/ 21050 w 72199"/>
                  <a:gd name="connsiteY8" fmla="*/ 64865 h 93630"/>
                  <a:gd name="connsiteX9" fmla="*/ 29432 w 72199"/>
                  <a:gd name="connsiteY9" fmla="*/ 73628 h 93630"/>
                  <a:gd name="connsiteX10" fmla="*/ 51721 w 72199"/>
                  <a:gd name="connsiteY10" fmla="*/ 73628 h 93630"/>
                  <a:gd name="connsiteX11" fmla="*/ 51721 w 72199"/>
                  <a:gd name="connsiteY11" fmla="*/ 29908 h 93630"/>
                  <a:gd name="connsiteX12" fmla="*/ 51721 w 72199"/>
                  <a:gd name="connsiteY12" fmla="*/ 28004 h 93630"/>
                  <a:gd name="connsiteX13" fmla="*/ 44291 w 72199"/>
                  <a:gd name="connsiteY13" fmla="*/ 20383 h 93630"/>
                  <a:gd name="connsiteX14" fmla="*/ 13906 w 72199"/>
                  <a:gd name="connsiteY14" fmla="*/ 20383 h 93630"/>
                  <a:gd name="connsiteX15" fmla="*/ 13906 w 72199"/>
                  <a:gd name="connsiteY15" fmla="*/ 0 h 93630"/>
                  <a:gd name="connsiteX16" fmla="*/ 44291 w 72199"/>
                  <a:gd name="connsiteY16" fmla="*/ 0 h 93630"/>
                  <a:gd name="connsiteX17" fmla="*/ 71914 w 72199"/>
                  <a:gd name="connsiteY17" fmla="*/ 27623 h 93630"/>
                  <a:gd name="connsiteX18" fmla="*/ 71914 w 72199"/>
                  <a:gd name="connsiteY18" fmla="*/ 26956 h 93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2199" h="93630">
                    <a:moveTo>
                      <a:pt x="72199" y="27051"/>
                    </a:moveTo>
                    <a:lnTo>
                      <a:pt x="72199" y="93631"/>
                    </a:lnTo>
                    <a:lnTo>
                      <a:pt x="25622" y="93631"/>
                    </a:lnTo>
                    <a:cubicBezTo>
                      <a:pt x="9715" y="93631"/>
                      <a:pt x="0" y="80963"/>
                      <a:pt x="0" y="65056"/>
                    </a:cubicBezTo>
                    <a:cubicBezTo>
                      <a:pt x="0" y="49149"/>
                      <a:pt x="12859" y="36195"/>
                      <a:pt x="28861" y="36195"/>
                    </a:cubicBezTo>
                    <a:cubicBezTo>
                      <a:pt x="35433" y="36195"/>
                      <a:pt x="38100" y="36290"/>
                      <a:pt x="38100" y="36290"/>
                    </a:cubicBezTo>
                    <a:lnTo>
                      <a:pt x="50101" y="56769"/>
                    </a:lnTo>
                    <a:cubicBezTo>
                      <a:pt x="50101" y="56769"/>
                      <a:pt x="38100" y="56769"/>
                      <a:pt x="29432" y="56769"/>
                    </a:cubicBezTo>
                    <a:cubicBezTo>
                      <a:pt x="24670" y="56769"/>
                      <a:pt x="21050" y="60293"/>
                      <a:pt x="21050" y="64865"/>
                    </a:cubicBezTo>
                    <a:cubicBezTo>
                      <a:pt x="21050" y="69437"/>
                      <a:pt x="24003" y="73628"/>
                      <a:pt x="29432" y="73628"/>
                    </a:cubicBezTo>
                    <a:lnTo>
                      <a:pt x="51721" y="73628"/>
                    </a:lnTo>
                    <a:cubicBezTo>
                      <a:pt x="51721" y="73628"/>
                      <a:pt x="51721" y="29908"/>
                      <a:pt x="51721" y="29908"/>
                    </a:cubicBezTo>
                    <a:lnTo>
                      <a:pt x="51721" y="28004"/>
                    </a:lnTo>
                    <a:cubicBezTo>
                      <a:pt x="51721" y="23908"/>
                      <a:pt x="48387" y="20383"/>
                      <a:pt x="44291" y="20383"/>
                    </a:cubicBezTo>
                    <a:lnTo>
                      <a:pt x="13906" y="20383"/>
                    </a:lnTo>
                    <a:lnTo>
                      <a:pt x="13906" y="0"/>
                    </a:lnTo>
                    <a:lnTo>
                      <a:pt x="44291" y="0"/>
                    </a:lnTo>
                    <a:cubicBezTo>
                      <a:pt x="59531" y="0"/>
                      <a:pt x="71914" y="12383"/>
                      <a:pt x="71914" y="27623"/>
                    </a:cubicBezTo>
                    <a:lnTo>
                      <a:pt x="71914" y="26956"/>
                    </a:lnTo>
                    <a:close/>
                  </a:path>
                </a:pathLst>
              </a:custGeom>
              <a:solidFill>
                <a:srgbClr val="002D7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5" name="Freihandform: Form 440">
                <a:extLst>
                  <a:ext uri="{FF2B5EF4-FFF2-40B4-BE49-F238E27FC236}">
                    <a16:creationId xmlns:a16="http://schemas.microsoft.com/office/drawing/2014/main" id="{8D18506A-5B96-CC20-8E99-8F6B4FFCF200}"/>
                  </a:ext>
                </a:extLst>
              </p:cNvPr>
              <p:cNvSpPr/>
              <p:nvPr/>
            </p:nvSpPr>
            <p:spPr>
              <a:xfrm>
                <a:off x="4325771" y="6665275"/>
                <a:ext cx="49815" cy="106203"/>
              </a:xfrm>
              <a:custGeom>
                <a:avLst/>
                <a:gdLst>
                  <a:gd name="connsiteX0" fmla="*/ 32290 w 49815"/>
                  <a:gd name="connsiteY0" fmla="*/ 106204 h 106203"/>
                  <a:gd name="connsiteX1" fmla="*/ 0 w 49815"/>
                  <a:gd name="connsiteY1" fmla="*/ 64865 h 106203"/>
                  <a:gd name="connsiteX2" fmla="*/ 0 w 49815"/>
                  <a:gd name="connsiteY2" fmla="*/ 0 h 106203"/>
                  <a:gd name="connsiteX3" fmla="*/ 20193 w 49815"/>
                  <a:gd name="connsiteY3" fmla="*/ 0 h 106203"/>
                  <a:gd name="connsiteX4" fmla="*/ 20193 w 49815"/>
                  <a:gd name="connsiteY4" fmla="*/ 12478 h 106203"/>
                  <a:gd name="connsiteX5" fmla="*/ 49816 w 49815"/>
                  <a:gd name="connsiteY5" fmla="*/ 12478 h 106203"/>
                  <a:gd name="connsiteX6" fmla="*/ 49816 w 49815"/>
                  <a:gd name="connsiteY6" fmla="*/ 32671 h 106203"/>
                  <a:gd name="connsiteX7" fmla="*/ 20479 w 49815"/>
                  <a:gd name="connsiteY7" fmla="*/ 32671 h 106203"/>
                  <a:gd name="connsiteX8" fmla="*/ 20479 w 49815"/>
                  <a:gd name="connsiteY8" fmla="*/ 65913 h 106203"/>
                  <a:gd name="connsiteX9" fmla="*/ 20479 w 49815"/>
                  <a:gd name="connsiteY9" fmla="*/ 64865 h 106203"/>
                  <a:gd name="connsiteX10" fmla="*/ 42386 w 49815"/>
                  <a:gd name="connsiteY10" fmla="*/ 86963 h 106203"/>
                  <a:gd name="connsiteX11" fmla="*/ 46482 w 49815"/>
                  <a:gd name="connsiteY11" fmla="*/ 86677 h 106203"/>
                  <a:gd name="connsiteX12" fmla="*/ 32290 w 49815"/>
                  <a:gd name="connsiteY12" fmla="*/ 106204 h 106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815" h="106203">
                    <a:moveTo>
                      <a:pt x="32290" y="106204"/>
                    </a:moveTo>
                    <a:cubicBezTo>
                      <a:pt x="13716" y="101632"/>
                      <a:pt x="0" y="84868"/>
                      <a:pt x="0" y="64865"/>
                    </a:cubicBezTo>
                    <a:lnTo>
                      <a:pt x="0" y="0"/>
                    </a:lnTo>
                    <a:cubicBezTo>
                      <a:pt x="0" y="0"/>
                      <a:pt x="20193" y="0"/>
                      <a:pt x="20193" y="0"/>
                    </a:cubicBezTo>
                    <a:lnTo>
                      <a:pt x="20193" y="12478"/>
                    </a:lnTo>
                    <a:lnTo>
                      <a:pt x="49816" y="12478"/>
                    </a:lnTo>
                    <a:lnTo>
                      <a:pt x="49816" y="32671"/>
                    </a:lnTo>
                    <a:lnTo>
                      <a:pt x="20479" y="32671"/>
                    </a:lnTo>
                    <a:lnTo>
                      <a:pt x="20479" y="65913"/>
                    </a:lnTo>
                    <a:lnTo>
                      <a:pt x="20479" y="64865"/>
                    </a:lnTo>
                    <a:cubicBezTo>
                      <a:pt x="20479" y="77057"/>
                      <a:pt x="30194" y="86963"/>
                      <a:pt x="42386" y="86963"/>
                    </a:cubicBezTo>
                    <a:cubicBezTo>
                      <a:pt x="43815" y="86963"/>
                      <a:pt x="45148" y="86963"/>
                      <a:pt x="46482" y="86677"/>
                    </a:cubicBezTo>
                    <a:lnTo>
                      <a:pt x="32290" y="106204"/>
                    </a:lnTo>
                    <a:close/>
                  </a:path>
                </a:pathLst>
              </a:custGeom>
              <a:solidFill>
                <a:srgbClr val="002D7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6" name="Freihandform: Form 441">
                <a:extLst>
                  <a:ext uri="{FF2B5EF4-FFF2-40B4-BE49-F238E27FC236}">
                    <a16:creationId xmlns:a16="http://schemas.microsoft.com/office/drawing/2014/main" id="{7D208119-B0AB-F4AB-70EB-34407ED0FD0B}"/>
                  </a:ext>
                </a:extLst>
              </p:cNvPr>
              <p:cNvSpPr/>
              <p:nvPr/>
            </p:nvSpPr>
            <p:spPr>
              <a:xfrm>
                <a:off x="4388446" y="6677848"/>
                <a:ext cx="50780" cy="93630"/>
              </a:xfrm>
              <a:custGeom>
                <a:avLst/>
                <a:gdLst>
                  <a:gd name="connsiteX0" fmla="*/ 0 w 50780"/>
                  <a:gd name="connsiteY0" fmla="*/ 93631 h 93630"/>
                  <a:gd name="connsiteX1" fmla="*/ 0 w 50780"/>
                  <a:gd name="connsiteY1" fmla="*/ 0 h 93630"/>
                  <a:gd name="connsiteX2" fmla="*/ 20098 w 50780"/>
                  <a:gd name="connsiteY2" fmla="*/ 0 h 93630"/>
                  <a:gd name="connsiteX3" fmla="*/ 31813 w 50780"/>
                  <a:gd name="connsiteY3" fmla="*/ 2286 h 93630"/>
                  <a:gd name="connsiteX4" fmla="*/ 50768 w 50780"/>
                  <a:gd name="connsiteY4" fmla="*/ 12573 h 93630"/>
                  <a:gd name="connsiteX5" fmla="*/ 42386 w 50780"/>
                  <a:gd name="connsiteY5" fmla="*/ 28384 h 93630"/>
                  <a:gd name="connsiteX6" fmla="*/ 30671 w 50780"/>
                  <a:gd name="connsiteY6" fmla="*/ 23241 h 93630"/>
                  <a:gd name="connsiteX7" fmla="*/ 20479 w 50780"/>
                  <a:gd name="connsiteY7" fmla="*/ 19907 h 93630"/>
                  <a:gd name="connsiteX8" fmla="*/ 20479 w 50780"/>
                  <a:gd name="connsiteY8" fmla="*/ 93536 h 93630"/>
                  <a:gd name="connsiteX9" fmla="*/ 0 w 50780"/>
                  <a:gd name="connsiteY9" fmla="*/ 93536 h 93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780" h="93630">
                    <a:moveTo>
                      <a:pt x="0" y="93631"/>
                    </a:moveTo>
                    <a:lnTo>
                      <a:pt x="0" y="0"/>
                    </a:lnTo>
                    <a:cubicBezTo>
                      <a:pt x="0" y="0"/>
                      <a:pt x="20098" y="0"/>
                      <a:pt x="20098" y="0"/>
                    </a:cubicBezTo>
                    <a:cubicBezTo>
                      <a:pt x="20098" y="0"/>
                      <a:pt x="26003" y="0"/>
                      <a:pt x="31813" y="2286"/>
                    </a:cubicBezTo>
                    <a:cubicBezTo>
                      <a:pt x="37529" y="4286"/>
                      <a:pt x="43815" y="12287"/>
                      <a:pt x="50768" y="12573"/>
                    </a:cubicBezTo>
                    <a:cubicBezTo>
                      <a:pt x="51149" y="12573"/>
                      <a:pt x="42386" y="28384"/>
                      <a:pt x="42386" y="28384"/>
                    </a:cubicBezTo>
                    <a:cubicBezTo>
                      <a:pt x="42386" y="28384"/>
                      <a:pt x="38195" y="29337"/>
                      <a:pt x="30671" y="23241"/>
                    </a:cubicBezTo>
                    <a:cubicBezTo>
                      <a:pt x="26575" y="19907"/>
                      <a:pt x="20479" y="19907"/>
                      <a:pt x="20479" y="19907"/>
                    </a:cubicBezTo>
                    <a:lnTo>
                      <a:pt x="20479" y="93536"/>
                    </a:lnTo>
                    <a:lnTo>
                      <a:pt x="0" y="93536"/>
                    </a:lnTo>
                    <a:close/>
                  </a:path>
                </a:pathLst>
              </a:custGeom>
              <a:solidFill>
                <a:srgbClr val="002D7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7" name="Freihandform: Form 442">
                <a:extLst>
                  <a:ext uri="{FF2B5EF4-FFF2-40B4-BE49-F238E27FC236}">
                    <a16:creationId xmlns:a16="http://schemas.microsoft.com/office/drawing/2014/main" id="{314EAB78-36DC-D94B-5D6E-CAF87842DAE4}"/>
                  </a:ext>
                </a:extLst>
              </p:cNvPr>
              <p:cNvSpPr/>
              <p:nvPr/>
            </p:nvSpPr>
            <p:spPr>
              <a:xfrm>
                <a:off x="4529511" y="6603172"/>
                <a:ext cx="20383" cy="20288"/>
              </a:xfrm>
              <a:custGeom>
                <a:avLst/>
                <a:gdLst>
                  <a:gd name="connsiteX0" fmla="*/ 0 w 20383"/>
                  <a:gd name="connsiteY0" fmla="*/ 0 h 20288"/>
                  <a:gd name="connsiteX1" fmla="*/ 20384 w 20383"/>
                  <a:gd name="connsiteY1" fmla="*/ 0 h 20288"/>
                  <a:gd name="connsiteX2" fmla="*/ 20384 w 20383"/>
                  <a:gd name="connsiteY2" fmla="*/ 20288 h 20288"/>
                  <a:gd name="connsiteX3" fmla="*/ 0 w 20383"/>
                  <a:gd name="connsiteY3" fmla="*/ 20288 h 20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383" h="20288">
                    <a:moveTo>
                      <a:pt x="0" y="0"/>
                    </a:moveTo>
                    <a:lnTo>
                      <a:pt x="20384" y="0"/>
                    </a:lnTo>
                    <a:lnTo>
                      <a:pt x="20384" y="20288"/>
                    </a:lnTo>
                    <a:lnTo>
                      <a:pt x="0" y="20288"/>
                    </a:lnTo>
                    <a:close/>
                  </a:path>
                </a:pathLst>
              </a:custGeom>
              <a:solidFill>
                <a:srgbClr val="002D7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8" name="Freihandform: Form 443">
                <a:extLst>
                  <a:ext uri="{FF2B5EF4-FFF2-40B4-BE49-F238E27FC236}">
                    <a16:creationId xmlns:a16="http://schemas.microsoft.com/office/drawing/2014/main" id="{103705BF-F6F5-89C6-41CB-9090B0AE3424}"/>
                  </a:ext>
                </a:extLst>
              </p:cNvPr>
              <p:cNvSpPr/>
              <p:nvPr/>
            </p:nvSpPr>
            <p:spPr>
              <a:xfrm>
                <a:off x="4435196" y="6570099"/>
                <a:ext cx="88028" cy="90238"/>
              </a:xfrm>
              <a:custGeom>
                <a:avLst/>
                <a:gdLst>
                  <a:gd name="connsiteX0" fmla="*/ 32212 w 88028"/>
                  <a:gd name="connsiteY0" fmla="*/ 22977 h 90238"/>
                  <a:gd name="connsiteX1" fmla="*/ 61168 w 88028"/>
                  <a:gd name="connsiteY1" fmla="*/ 24882 h 90238"/>
                  <a:gd name="connsiteX2" fmla="*/ 19353 w 88028"/>
                  <a:gd name="connsiteY2" fmla="*/ 47932 h 90238"/>
                  <a:gd name="connsiteX3" fmla="*/ 32117 w 88028"/>
                  <a:gd name="connsiteY3" fmla="*/ 22977 h 90238"/>
                  <a:gd name="connsiteX4" fmla="*/ 57835 w 88028"/>
                  <a:gd name="connsiteY4" fmla="*/ 67458 h 90238"/>
                  <a:gd name="connsiteX5" fmla="*/ 28688 w 88028"/>
                  <a:gd name="connsiteY5" fmla="*/ 64982 h 90238"/>
                  <a:gd name="connsiteX6" fmla="*/ 88029 w 88028"/>
                  <a:gd name="connsiteY6" fmla="*/ 31454 h 90238"/>
                  <a:gd name="connsiteX7" fmla="*/ 84028 w 88028"/>
                  <a:gd name="connsiteY7" fmla="*/ 22691 h 90238"/>
                  <a:gd name="connsiteX8" fmla="*/ 22211 w 88028"/>
                  <a:gd name="connsiteY8" fmla="*/ 6117 h 90238"/>
                  <a:gd name="connsiteX9" fmla="*/ 6114 w 88028"/>
                  <a:gd name="connsiteY9" fmla="*/ 67744 h 90238"/>
                  <a:gd name="connsiteX10" fmla="*/ 67550 w 88028"/>
                  <a:gd name="connsiteY10" fmla="*/ 84222 h 90238"/>
                  <a:gd name="connsiteX11" fmla="*/ 81361 w 88028"/>
                  <a:gd name="connsiteY11" fmla="*/ 71840 h 90238"/>
                  <a:gd name="connsiteX12" fmla="*/ 69931 w 88028"/>
                  <a:gd name="connsiteY12" fmla="*/ 51837 h 90238"/>
                  <a:gd name="connsiteX13" fmla="*/ 57835 w 88028"/>
                  <a:gd name="connsiteY13" fmla="*/ 67554 h 90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8028" h="90238">
                    <a:moveTo>
                      <a:pt x="32212" y="22977"/>
                    </a:moveTo>
                    <a:cubicBezTo>
                      <a:pt x="41452" y="16690"/>
                      <a:pt x="53167" y="18595"/>
                      <a:pt x="61168" y="24882"/>
                    </a:cubicBezTo>
                    <a:lnTo>
                      <a:pt x="19353" y="47932"/>
                    </a:lnTo>
                    <a:cubicBezTo>
                      <a:pt x="18401" y="38217"/>
                      <a:pt x="21735" y="29168"/>
                      <a:pt x="32117" y="22977"/>
                    </a:cubicBezTo>
                    <a:moveTo>
                      <a:pt x="57835" y="67458"/>
                    </a:moveTo>
                    <a:cubicBezTo>
                      <a:pt x="48310" y="72983"/>
                      <a:pt x="36689" y="71649"/>
                      <a:pt x="28688" y="64982"/>
                    </a:cubicBezTo>
                    <a:lnTo>
                      <a:pt x="88029" y="31454"/>
                    </a:lnTo>
                    <a:cubicBezTo>
                      <a:pt x="86981" y="26977"/>
                      <a:pt x="85743" y="26025"/>
                      <a:pt x="84028" y="22691"/>
                    </a:cubicBezTo>
                    <a:cubicBezTo>
                      <a:pt x="72694" y="783"/>
                      <a:pt x="43737" y="-6360"/>
                      <a:pt x="22211" y="6117"/>
                    </a:cubicBezTo>
                    <a:cubicBezTo>
                      <a:pt x="685" y="19833"/>
                      <a:pt x="-6269" y="46218"/>
                      <a:pt x="6114" y="67744"/>
                    </a:cubicBezTo>
                    <a:cubicBezTo>
                      <a:pt x="18496" y="89271"/>
                      <a:pt x="46023" y="96605"/>
                      <a:pt x="67550" y="84222"/>
                    </a:cubicBezTo>
                    <a:cubicBezTo>
                      <a:pt x="73170" y="80984"/>
                      <a:pt x="77837" y="76698"/>
                      <a:pt x="81361" y="71840"/>
                    </a:cubicBezTo>
                    <a:lnTo>
                      <a:pt x="69931" y="51837"/>
                    </a:lnTo>
                    <a:cubicBezTo>
                      <a:pt x="68884" y="58886"/>
                      <a:pt x="63264" y="64506"/>
                      <a:pt x="57835" y="67554"/>
                    </a:cubicBezTo>
                  </a:path>
                </a:pathLst>
              </a:custGeom>
              <a:solidFill>
                <a:srgbClr val="002D7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19" name="Grafik 186">
                <a:extLst>
                  <a:ext uri="{FF2B5EF4-FFF2-40B4-BE49-F238E27FC236}">
                    <a16:creationId xmlns:a16="http://schemas.microsoft.com/office/drawing/2014/main" id="{62C63798-0EB0-8C7A-4099-1BAE393814B7}"/>
                  </a:ext>
                </a:extLst>
              </p:cNvPr>
              <p:cNvGrpSpPr/>
              <p:nvPr/>
            </p:nvGrpSpPr>
            <p:grpSpPr>
              <a:xfrm>
                <a:off x="4356650" y="6677848"/>
                <a:ext cx="193434" cy="203606"/>
                <a:chOff x="4356650" y="6677848"/>
                <a:chExt cx="193434" cy="203606"/>
              </a:xfrm>
              <a:solidFill>
                <a:srgbClr val="002D7A"/>
              </a:solidFill>
            </p:grpSpPr>
            <p:sp>
              <p:nvSpPr>
                <p:cNvPr id="125" name="Freihandform: Form 450">
                  <a:extLst>
                    <a:ext uri="{FF2B5EF4-FFF2-40B4-BE49-F238E27FC236}">
                      <a16:creationId xmlns:a16="http://schemas.microsoft.com/office/drawing/2014/main" id="{D62B9379-DCB5-4BC0-F358-DEA59ADE1CF9}"/>
                    </a:ext>
                  </a:extLst>
                </p:cNvPr>
                <p:cNvSpPr/>
                <p:nvPr/>
              </p:nvSpPr>
              <p:spPr>
                <a:xfrm>
                  <a:off x="4436737" y="6677848"/>
                  <a:ext cx="93725" cy="93725"/>
                </a:xfrm>
                <a:custGeom>
                  <a:avLst/>
                  <a:gdLst>
                    <a:gd name="connsiteX0" fmla="*/ 46863 w 93725"/>
                    <a:gd name="connsiteY0" fmla="*/ 73533 h 93725"/>
                    <a:gd name="connsiteX1" fmla="*/ 20193 w 93725"/>
                    <a:gd name="connsiteY1" fmla="*/ 46863 h 93725"/>
                    <a:gd name="connsiteX2" fmla="*/ 46863 w 93725"/>
                    <a:gd name="connsiteY2" fmla="*/ 20098 h 93725"/>
                    <a:gd name="connsiteX3" fmla="*/ 73533 w 93725"/>
                    <a:gd name="connsiteY3" fmla="*/ 46863 h 93725"/>
                    <a:gd name="connsiteX4" fmla="*/ 46863 w 93725"/>
                    <a:gd name="connsiteY4" fmla="*/ 73533 h 93725"/>
                    <a:gd name="connsiteX5" fmla="*/ 46863 w 93725"/>
                    <a:gd name="connsiteY5" fmla="*/ 0 h 93725"/>
                    <a:gd name="connsiteX6" fmla="*/ 0 w 93725"/>
                    <a:gd name="connsiteY6" fmla="*/ 46863 h 93725"/>
                    <a:gd name="connsiteX7" fmla="*/ 46863 w 93725"/>
                    <a:gd name="connsiteY7" fmla="*/ 93726 h 93725"/>
                    <a:gd name="connsiteX8" fmla="*/ 93726 w 93725"/>
                    <a:gd name="connsiteY8" fmla="*/ 46863 h 93725"/>
                    <a:gd name="connsiteX9" fmla="*/ 46863 w 93725"/>
                    <a:gd name="connsiteY9" fmla="*/ 0 h 93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3725" h="93725">
                      <a:moveTo>
                        <a:pt x="46863" y="73533"/>
                      </a:moveTo>
                      <a:cubicBezTo>
                        <a:pt x="32099" y="73533"/>
                        <a:pt x="20193" y="61627"/>
                        <a:pt x="20193" y="46863"/>
                      </a:cubicBezTo>
                      <a:cubicBezTo>
                        <a:pt x="20193" y="32099"/>
                        <a:pt x="32099" y="20098"/>
                        <a:pt x="46863" y="20098"/>
                      </a:cubicBezTo>
                      <a:cubicBezTo>
                        <a:pt x="61627" y="20098"/>
                        <a:pt x="73533" y="32099"/>
                        <a:pt x="73533" y="46863"/>
                      </a:cubicBezTo>
                      <a:cubicBezTo>
                        <a:pt x="73533" y="61627"/>
                        <a:pt x="61531" y="73533"/>
                        <a:pt x="46863" y="73533"/>
                      </a:cubicBezTo>
                      <a:moveTo>
                        <a:pt x="46863" y="0"/>
                      </a:moveTo>
                      <a:cubicBezTo>
                        <a:pt x="20955" y="0"/>
                        <a:pt x="0" y="20955"/>
                        <a:pt x="0" y="46863"/>
                      </a:cubicBezTo>
                      <a:cubicBezTo>
                        <a:pt x="0" y="72771"/>
                        <a:pt x="20955" y="93726"/>
                        <a:pt x="46863" y="93726"/>
                      </a:cubicBezTo>
                      <a:cubicBezTo>
                        <a:pt x="72771" y="93726"/>
                        <a:pt x="93726" y="72771"/>
                        <a:pt x="93726" y="46863"/>
                      </a:cubicBezTo>
                      <a:cubicBezTo>
                        <a:pt x="93726" y="20955"/>
                        <a:pt x="72771" y="0"/>
                        <a:pt x="46863" y="0"/>
                      </a:cubicBezTo>
                    </a:path>
                  </a:pathLst>
                </a:custGeom>
                <a:solidFill>
                  <a:srgbClr val="002D7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6" name="Freihandform: Form 451">
                  <a:extLst>
                    <a:ext uri="{FF2B5EF4-FFF2-40B4-BE49-F238E27FC236}">
                      <a16:creationId xmlns:a16="http://schemas.microsoft.com/office/drawing/2014/main" id="{18D550FC-4A1F-E586-A5F8-98E80568A0EE}"/>
                    </a:ext>
                  </a:extLst>
                </p:cNvPr>
                <p:cNvSpPr/>
                <p:nvPr/>
              </p:nvSpPr>
              <p:spPr>
                <a:xfrm>
                  <a:off x="4356650" y="6784813"/>
                  <a:ext cx="193434" cy="96640"/>
                </a:xfrm>
                <a:custGeom>
                  <a:avLst/>
                  <a:gdLst>
                    <a:gd name="connsiteX0" fmla="*/ 37320 w 193434"/>
                    <a:gd name="connsiteY0" fmla="*/ 65056 h 96640"/>
                    <a:gd name="connsiteX1" fmla="*/ 20651 w 193434"/>
                    <a:gd name="connsiteY1" fmla="*/ 70199 h 96640"/>
                    <a:gd name="connsiteX2" fmla="*/ 14745 w 193434"/>
                    <a:gd name="connsiteY2" fmla="*/ 60008 h 96640"/>
                    <a:gd name="connsiteX3" fmla="*/ 26842 w 193434"/>
                    <a:gd name="connsiteY3" fmla="*/ 51340 h 96640"/>
                    <a:gd name="connsiteX4" fmla="*/ 42273 w 193434"/>
                    <a:gd name="connsiteY4" fmla="*/ 55817 h 96640"/>
                    <a:gd name="connsiteX5" fmla="*/ 37320 w 193434"/>
                    <a:gd name="connsiteY5" fmla="*/ 65151 h 96640"/>
                    <a:gd name="connsiteX6" fmla="*/ 177337 w 193434"/>
                    <a:gd name="connsiteY6" fmla="*/ 51149 h 96640"/>
                    <a:gd name="connsiteX7" fmla="*/ 179433 w 193434"/>
                    <a:gd name="connsiteY7" fmla="*/ 44672 h 96640"/>
                    <a:gd name="connsiteX8" fmla="*/ 186100 w 193434"/>
                    <a:gd name="connsiteY8" fmla="*/ 44672 h 96640"/>
                    <a:gd name="connsiteX9" fmla="*/ 189148 w 193434"/>
                    <a:gd name="connsiteY9" fmla="*/ 41910 h 96640"/>
                    <a:gd name="connsiteX10" fmla="*/ 192958 w 193434"/>
                    <a:gd name="connsiteY10" fmla="*/ 37814 h 96640"/>
                    <a:gd name="connsiteX11" fmla="*/ 153049 w 193434"/>
                    <a:gd name="connsiteY11" fmla="*/ 37814 h 96640"/>
                    <a:gd name="connsiteX12" fmla="*/ 154287 w 193434"/>
                    <a:gd name="connsiteY12" fmla="*/ 35623 h 96640"/>
                    <a:gd name="connsiteX13" fmla="*/ 156477 w 193434"/>
                    <a:gd name="connsiteY13" fmla="*/ 31337 h 96640"/>
                    <a:gd name="connsiteX14" fmla="*/ 180195 w 193434"/>
                    <a:gd name="connsiteY14" fmla="*/ 31337 h 96640"/>
                    <a:gd name="connsiteX15" fmla="*/ 183243 w 193434"/>
                    <a:gd name="connsiteY15" fmla="*/ 28670 h 96640"/>
                    <a:gd name="connsiteX16" fmla="*/ 187053 w 193434"/>
                    <a:gd name="connsiteY16" fmla="*/ 24575 h 96640"/>
                    <a:gd name="connsiteX17" fmla="*/ 159907 w 193434"/>
                    <a:gd name="connsiteY17" fmla="*/ 24575 h 96640"/>
                    <a:gd name="connsiteX18" fmla="*/ 162954 w 193434"/>
                    <a:gd name="connsiteY18" fmla="*/ 18002 h 96640"/>
                    <a:gd name="connsiteX19" fmla="*/ 183433 w 193434"/>
                    <a:gd name="connsiteY19" fmla="*/ 18002 h 96640"/>
                    <a:gd name="connsiteX20" fmla="*/ 186481 w 193434"/>
                    <a:gd name="connsiteY20" fmla="*/ 15240 h 96640"/>
                    <a:gd name="connsiteX21" fmla="*/ 190291 w 193434"/>
                    <a:gd name="connsiteY21" fmla="*/ 11144 h 96640"/>
                    <a:gd name="connsiteX22" fmla="*/ 166002 w 193434"/>
                    <a:gd name="connsiteY22" fmla="*/ 11144 h 96640"/>
                    <a:gd name="connsiteX23" fmla="*/ 168765 w 193434"/>
                    <a:gd name="connsiteY23" fmla="*/ 4381 h 96640"/>
                    <a:gd name="connsiteX24" fmla="*/ 171908 w 193434"/>
                    <a:gd name="connsiteY24" fmla="*/ 0 h 96640"/>
                    <a:gd name="connsiteX25" fmla="*/ 157335 w 193434"/>
                    <a:gd name="connsiteY25" fmla="*/ 0 h 96640"/>
                    <a:gd name="connsiteX26" fmla="*/ 153144 w 193434"/>
                    <a:gd name="connsiteY26" fmla="*/ 11240 h 96640"/>
                    <a:gd name="connsiteX27" fmla="*/ 137142 w 193434"/>
                    <a:gd name="connsiteY27" fmla="*/ 11240 h 96640"/>
                    <a:gd name="connsiteX28" fmla="*/ 133332 w 193434"/>
                    <a:gd name="connsiteY28" fmla="*/ 15335 h 96640"/>
                    <a:gd name="connsiteX29" fmla="*/ 130284 w 193434"/>
                    <a:gd name="connsiteY29" fmla="*/ 18098 h 96640"/>
                    <a:gd name="connsiteX30" fmla="*/ 150286 w 193434"/>
                    <a:gd name="connsiteY30" fmla="*/ 18098 h 96640"/>
                    <a:gd name="connsiteX31" fmla="*/ 147429 w 193434"/>
                    <a:gd name="connsiteY31" fmla="*/ 24670 h 96640"/>
                    <a:gd name="connsiteX32" fmla="*/ 133427 w 193434"/>
                    <a:gd name="connsiteY32" fmla="*/ 24670 h 96640"/>
                    <a:gd name="connsiteX33" fmla="*/ 129617 w 193434"/>
                    <a:gd name="connsiteY33" fmla="*/ 28766 h 96640"/>
                    <a:gd name="connsiteX34" fmla="*/ 126569 w 193434"/>
                    <a:gd name="connsiteY34" fmla="*/ 31433 h 96640"/>
                    <a:gd name="connsiteX35" fmla="*/ 144190 w 193434"/>
                    <a:gd name="connsiteY35" fmla="*/ 31433 h 96640"/>
                    <a:gd name="connsiteX36" fmla="*/ 142380 w 193434"/>
                    <a:gd name="connsiteY36" fmla="*/ 34957 h 96640"/>
                    <a:gd name="connsiteX37" fmla="*/ 140761 w 193434"/>
                    <a:gd name="connsiteY37" fmla="*/ 38005 h 96640"/>
                    <a:gd name="connsiteX38" fmla="*/ 125426 w 193434"/>
                    <a:gd name="connsiteY38" fmla="*/ 38005 h 96640"/>
                    <a:gd name="connsiteX39" fmla="*/ 121711 w 193434"/>
                    <a:gd name="connsiteY39" fmla="*/ 42100 h 96640"/>
                    <a:gd name="connsiteX40" fmla="*/ 118663 w 193434"/>
                    <a:gd name="connsiteY40" fmla="*/ 44863 h 96640"/>
                    <a:gd name="connsiteX41" fmla="*/ 137142 w 193434"/>
                    <a:gd name="connsiteY41" fmla="*/ 44863 h 96640"/>
                    <a:gd name="connsiteX42" fmla="*/ 121426 w 193434"/>
                    <a:gd name="connsiteY42" fmla="*/ 66866 h 96640"/>
                    <a:gd name="connsiteX43" fmla="*/ 115139 w 193434"/>
                    <a:gd name="connsiteY43" fmla="*/ 72581 h 96640"/>
                    <a:gd name="connsiteX44" fmla="*/ 107328 w 193434"/>
                    <a:gd name="connsiteY44" fmla="*/ 72866 h 96640"/>
                    <a:gd name="connsiteX45" fmla="*/ 85611 w 193434"/>
                    <a:gd name="connsiteY45" fmla="*/ 68771 h 96640"/>
                    <a:gd name="connsiteX46" fmla="*/ 56370 w 193434"/>
                    <a:gd name="connsiteY46" fmla="*/ 53912 h 96640"/>
                    <a:gd name="connsiteX47" fmla="*/ 59799 w 193434"/>
                    <a:gd name="connsiteY47" fmla="*/ 44863 h 96640"/>
                    <a:gd name="connsiteX48" fmla="*/ 90755 w 193434"/>
                    <a:gd name="connsiteY48" fmla="*/ 44863 h 96640"/>
                    <a:gd name="connsiteX49" fmla="*/ 93803 w 193434"/>
                    <a:gd name="connsiteY49" fmla="*/ 42196 h 96640"/>
                    <a:gd name="connsiteX50" fmla="*/ 97613 w 193434"/>
                    <a:gd name="connsiteY50" fmla="*/ 38100 h 96640"/>
                    <a:gd name="connsiteX51" fmla="*/ 62370 w 193434"/>
                    <a:gd name="connsiteY51" fmla="*/ 38100 h 96640"/>
                    <a:gd name="connsiteX52" fmla="*/ 64752 w 193434"/>
                    <a:gd name="connsiteY52" fmla="*/ 31718 h 96640"/>
                    <a:gd name="connsiteX53" fmla="*/ 93994 w 193434"/>
                    <a:gd name="connsiteY53" fmla="*/ 31718 h 96640"/>
                    <a:gd name="connsiteX54" fmla="*/ 94565 w 193434"/>
                    <a:gd name="connsiteY54" fmla="*/ 31718 h 96640"/>
                    <a:gd name="connsiteX55" fmla="*/ 97613 w 193434"/>
                    <a:gd name="connsiteY55" fmla="*/ 29051 h 96640"/>
                    <a:gd name="connsiteX56" fmla="*/ 101423 w 193434"/>
                    <a:gd name="connsiteY56" fmla="*/ 24956 h 96640"/>
                    <a:gd name="connsiteX57" fmla="*/ 67419 w 193434"/>
                    <a:gd name="connsiteY57" fmla="*/ 24956 h 96640"/>
                    <a:gd name="connsiteX58" fmla="*/ 69800 w 193434"/>
                    <a:gd name="connsiteY58" fmla="*/ 18764 h 96640"/>
                    <a:gd name="connsiteX59" fmla="*/ 98089 w 193434"/>
                    <a:gd name="connsiteY59" fmla="*/ 18764 h 96640"/>
                    <a:gd name="connsiteX60" fmla="*/ 101137 w 193434"/>
                    <a:gd name="connsiteY60" fmla="*/ 16002 h 96640"/>
                    <a:gd name="connsiteX61" fmla="*/ 104947 w 193434"/>
                    <a:gd name="connsiteY61" fmla="*/ 11906 h 96640"/>
                    <a:gd name="connsiteX62" fmla="*/ 84659 w 193434"/>
                    <a:gd name="connsiteY62" fmla="*/ 11906 h 96640"/>
                    <a:gd name="connsiteX63" fmla="*/ 92374 w 193434"/>
                    <a:gd name="connsiteY63" fmla="*/ 2762 h 96640"/>
                    <a:gd name="connsiteX64" fmla="*/ 96851 w 193434"/>
                    <a:gd name="connsiteY64" fmla="*/ 571 h 96640"/>
                    <a:gd name="connsiteX65" fmla="*/ 81706 w 193434"/>
                    <a:gd name="connsiteY65" fmla="*/ 571 h 96640"/>
                    <a:gd name="connsiteX66" fmla="*/ 77896 w 193434"/>
                    <a:gd name="connsiteY66" fmla="*/ 2286 h 96640"/>
                    <a:gd name="connsiteX67" fmla="*/ 69800 w 193434"/>
                    <a:gd name="connsiteY67" fmla="*/ 11906 h 96640"/>
                    <a:gd name="connsiteX68" fmla="*/ 60370 w 193434"/>
                    <a:gd name="connsiteY68" fmla="*/ 11906 h 96640"/>
                    <a:gd name="connsiteX69" fmla="*/ 52369 w 193434"/>
                    <a:gd name="connsiteY69" fmla="*/ 2286 h 96640"/>
                    <a:gd name="connsiteX70" fmla="*/ 48559 w 193434"/>
                    <a:gd name="connsiteY70" fmla="*/ 571 h 96640"/>
                    <a:gd name="connsiteX71" fmla="*/ 33415 w 193434"/>
                    <a:gd name="connsiteY71" fmla="*/ 571 h 96640"/>
                    <a:gd name="connsiteX72" fmla="*/ 37891 w 193434"/>
                    <a:gd name="connsiteY72" fmla="*/ 2762 h 96640"/>
                    <a:gd name="connsiteX73" fmla="*/ 45607 w 193434"/>
                    <a:gd name="connsiteY73" fmla="*/ 11906 h 96640"/>
                    <a:gd name="connsiteX74" fmla="*/ 26652 w 193434"/>
                    <a:gd name="connsiteY74" fmla="*/ 11906 h 96640"/>
                    <a:gd name="connsiteX75" fmla="*/ 22842 w 193434"/>
                    <a:gd name="connsiteY75" fmla="*/ 16002 h 96640"/>
                    <a:gd name="connsiteX76" fmla="*/ 19794 w 193434"/>
                    <a:gd name="connsiteY76" fmla="*/ 18669 h 96640"/>
                    <a:gd name="connsiteX77" fmla="*/ 55989 w 193434"/>
                    <a:gd name="connsiteY77" fmla="*/ 18669 h 96640"/>
                    <a:gd name="connsiteX78" fmla="*/ 53608 w 193434"/>
                    <a:gd name="connsiteY78" fmla="*/ 24956 h 96640"/>
                    <a:gd name="connsiteX79" fmla="*/ 23127 w 193434"/>
                    <a:gd name="connsiteY79" fmla="*/ 24956 h 96640"/>
                    <a:gd name="connsiteX80" fmla="*/ 19318 w 193434"/>
                    <a:gd name="connsiteY80" fmla="*/ 29051 h 96640"/>
                    <a:gd name="connsiteX81" fmla="*/ 16269 w 193434"/>
                    <a:gd name="connsiteY81" fmla="*/ 31718 h 96640"/>
                    <a:gd name="connsiteX82" fmla="*/ 50845 w 193434"/>
                    <a:gd name="connsiteY82" fmla="*/ 31718 h 96640"/>
                    <a:gd name="connsiteX83" fmla="*/ 48369 w 193434"/>
                    <a:gd name="connsiteY83" fmla="*/ 38100 h 96640"/>
                    <a:gd name="connsiteX84" fmla="*/ 19222 w 193434"/>
                    <a:gd name="connsiteY84" fmla="*/ 38100 h 96640"/>
                    <a:gd name="connsiteX85" fmla="*/ 15508 w 193434"/>
                    <a:gd name="connsiteY85" fmla="*/ 42196 h 96640"/>
                    <a:gd name="connsiteX86" fmla="*/ 12460 w 193434"/>
                    <a:gd name="connsiteY86" fmla="*/ 44863 h 96640"/>
                    <a:gd name="connsiteX87" fmla="*/ 45797 w 193434"/>
                    <a:gd name="connsiteY87" fmla="*/ 44863 h 96640"/>
                    <a:gd name="connsiteX88" fmla="*/ 43702 w 193434"/>
                    <a:gd name="connsiteY88" fmla="*/ 50387 h 96640"/>
                    <a:gd name="connsiteX89" fmla="*/ 28366 w 193434"/>
                    <a:gd name="connsiteY89" fmla="*/ 48958 h 96640"/>
                    <a:gd name="connsiteX90" fmla="*/ 12364 w 193434"/>
                    <a:gd name="connsiteY90" fmla="*/ 59627 h 96640"/>
                    <a:gd name="connsiteX91" fmla="*/ 28843 w 193434"/>
                    <a:gd name="connsiteY91" fmla="*/ 74676 h 96640"/>
                    <a:gd name="connsiteX92" fmla="*/ 51226 w 193434"/>
                    <a:gd name="connsiteY92" fmla="*/ 62960 h 96640"/>
                    <a:gd name="connsiteX93" fmla="*/ 79135 w 193434"/>
                    <a:gd name="connsiteY93" fmla="*/ 76581 h 96640"/>
                    <a:gd name="connsiteX94" fmla="*/ 104376 w 193434"/>
                    <a:gd name="connsiteY94" fmla="*/ 79915 h 96640"/>
                    <a:gd name="connsiteX95" fmla="*/ 75896 w 193434"/>
                    <a:gd name="connsiteY95" fmla="*/ 90583 h 96640"/>
                    <a:gd name="connsiteX96" fmla="*/ 32367 w 193434"/>
                    <a:gd name="connsiteY96" fmla="*/ 90488 h 96640"/>
                    <a:gd name="connsiteX97" fmla="*/ 10174 w 193434"/>
                    <a:gd name="connsiteY97" fmla="*/ 76581 h 96640"/>
                    <a:gd name="connsiteX98" fmla="*/ 172 w 193434"/>
                    <a:gd name="connsiteY98" fmla="*/ 61817 h 96640"/>
                    <a:gd name="connsiteX99" fmla="*/ 8078 w 193434"/>
                    <a:gd name="connsiteY99" fmla="*/ 76486 h 96640"/>
                    <a:gd name="connsiteX100" fmla="*/ 37701 w 193434"/>
                    <a:gd name="connsiteY100" fmla="*/ 94679 h 96640"/>
                    <a:gd name="connsiteX101" fmla="*/ 87707 w 193434"/>
                    <a:gd name="connsiteY101" fmla="*/ 92107 h 96640"/>
                    <a:gd name="connsiteX102" fmla="*/ 120759 w 193434"/>
                    <a:gd name="connsiteY102" fmla="*/ 76771 h 96640"/>
                    <a:gd name="connsiteX103" fmla="*/ 136380 w 193434"/>
                    <a:gd name="connsiteY103" fmla="*/ 69533 h 96640"/>
                    <a:gd name="connsiteX104" fmla="*/ 145810 w 193434"/>
                    <a:gd name="connsiteY104" fmla="*/ 58674 h 96640"/>
                    <a:gd name="connsiteX105" fmla="*/ 141619 w 193434"/>
                    <a:gd name="connsiteY105" fmla="*/ 63532 h 96640"/>
                    <a:gd name="connsiteX106" fmla="*/ 135903 w 193434"/>
                    <a:gd name="connsiteY106" fmla="*/ 67151 h 96640"/>
                    <a:gd name="connsiteX107" fmla="*/ 129236 w 193434"/>
                    <a:gd name="connsiteY107" fmla="*/ 69914 h 96640"/>
                    <a:gd name="connsiteX108" fmla="*/ 130474 w 193434"/>
                    <a:gd name="connsiteY108" fmla="*/ 68771 h 96640"/>
                    <a:gd name="connsiteX109" fmla="*/ 149048 w 193434"/>
                    <a:gd name="connsiteY109" fmla="*/ 44577 h 96640"/>
                    <a:gd name="connsiteX110" fmla="*/ 168098 w 193434"/>
                    <a:gd name="connsiteY110" fmla="*/ 44577 h 96640"/>
                    <a:gd name="connsiteX111" fmla="*/ 167717 w 193434"/>
                    <a:gd name="connsiteY111" fmla="*/ 46101 h 96640"/>
                    <a:gd name="connsiteX112" fmla="*/ 166002 w 193434"/>
                    <a:gd name="connsiteY112" fmla="*/ 51054 h 96640"/>
                    <a:gd name="connsiteX113" fmla="*/ 153429 w 193434"/>
                    <a:gd name="connsiteY113" fmla="*/ 51054 h 96640"/>
                    <a:gd name="connsiteX114" fmla="*/ 149715 w 193434"/>
                    <a:gd name="connsiteY114" fmla="*/ 55150 h 96640"/>
                    <a:gd name="connsiteX115" fmla="*/ 146667 w 193434"/>
                    <a:gd name="connsiteY115" fmla="*/ 57912 h 96640"/>
                    <a:gd name="connsiteX116" fmla="*/ 163621 w 193434"/>
                    <a:gd name="connsiteY116" fmla="*/ 57912 h 96640"/>
                    <a:gd name="connsiteX117" fmla="*/ 158192 w 193434"/>
                    <a:gd name="connsiteY117" fmla="*/ 72295 h 96640"/>
                    <a:gd name="connsiteX118" fmla="*/ 151905 w 193434"/>
                    <a:gd name="connsiteY118" fmla="*/ 79343 h 96640"/>
                    <a:gd name="connsiteX119" fmla="*/ 152668 w 193434"/>
                    <a:gd name="connsiteY119" fmla="*/ 75629 h 96640"/>
                    <a:gd name="connsiteX120" fmla="*/ 144762 w 193434"/>
                    <a:gd name="connsiteY120" fmla="*/ 68390 h 96640"/>
                    <a:gd name="connsiteX121" fmla="*/ 137142 w 193434"/>
                    <a:gd name="connsiteY121" fmla="*/ 75914 h 96640"/>
                    <a:gd name="connsiteX122" fmla="*/ 142000 w 193434"/>
                    <a:gd name="connsiteY122" fmla="*/ 83439 h 96640"/>
                    <a:gd name="connsiteX123" fmla="*/ 147905 w 193434"/>
                    <a:gd name="connsiteY123" fmla="*/ 84296 h 96640"/>
                    <a:gd name="connsiteX124" fmla="*/ 168479 w 193434"/>
                    <a:gd name="connsiteY124" fmla="*/ 73628 h 96640"/>
                    <a:gd name="connsiteX125" fmla="*/ 170670 w 193434"/>
                    <a:gd name="connsiteY125" fmla="*/ 69628 h 96640"/>
                    <a:gd name="connsiteX126" fmla="*/ 175146 w 193434"/>
                    <a:gd name="connsiteY126" fmla="*/ 58007 h 96640"/>
                    <a:gd name="connsiteX127" fmla="*/ 186577 w 193434"/>
                    <a:gd name="connsiteY127" fmla="*/ 58007 h 96640"/>
                    <a:gd name="connsiteX128" fmla="*/ 189625 w 193434"/>
                    <a:gd name="connsiteY128" fmla="*/ 55245 h 96640"/>
                    <a:gd name="connsiteX129" fmla="*/ 193435 w 193434"/>
                    <a:gd name="connsiteY129" fmla="*/ 51149 h 96640"/>
                    <a:gd name="connsiteX130" fmla="*/ 177528 w 193434"/>
                    <a:gd name="connsiteY130" fmla="*/ 51149 h 96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</a:cxnLst>
                  <a:rect l="l" t="t" r="r" b="b"/>
                  <a:pathLst>
                    <a:path w="193434" h="96640">
                      <a:moveTo>
                        <a:pt x="37320" y="65056"/>
                      </a:moveTo>
                      <a:cubicBezTo>
                        <a:pt x="34177" y="69056"/>
                        <a:pt x="25794" y="71438"/>
                        <a:pt x="20651" y="70199"/>
                      </a:cubicBezTo>
                      <a:cubicBezTo>
                        <a:pt x="13888" y="68580"/>
                        <a:pt x="13984" y="62389"/>
                        <a:pt x="14745" y="60008"/>
                      </a:cubicBezTo>
                      <a:cubicBezTo>
                        <a:pt x="15508" y="57626"/>
                        <a:pt x="18270" y="53054"/>
                        <a:pt x="26842" y="51340"/>
                      </a:cubicBezTo>
                      <a:cubicBezTo>
                        <a:pt x="35415" y="49625"/>
                        <a:pt x="42273" y="55817"/>
                        <a:pt x="42273" y="55817"/>
                      </a:cubicBezTo>
                      <a:cubicBezTo>
                        <a:pt x="42273" y="55817"/>
                        <a:pt x="41416" y="59817"/>
                        <a:pt x="37320" y="65151"/>
                      </a:cubicBezTo>
                      <a:moveTo>
                        <a:pt x="177337" y="51149"/>
                      </a:moveTo>
                      <a:cubicBezTo>
                        <a:pt x="178385" y="48006"/>
                        <a:pt x="179147" y="45529"/>
                        <a:pt x="179433" y="44672"/>
                      </a:cubicBezTo>
                      <a:lnTo>
                        <a:pt x="186100" y="44672"/>
                      </a:lnTo>
                      <a:cubicBezTo>
                        <a:pt x="186100" y="44672"/>
                        <a:pt x="188386" y="43434"/>
                        <a:pt x="189148" y="41910"/>
                      </a:cubicBezTo>
                      <a:cubicBezTo>
                        <a:pt x="189910" y="40386"/>
                        <a:pt x="191149" y="37814"/>
                        <a:pt x="192958" y="37814"/>
                      </a:cubicBezTo>
                      <a:lnTo>
                        <a:pt x="153049" y="37814"/>
                      </a:lnTo>
                      <a:lnTo>
                        <a:pt x="154287" y="35623"/>
                      </a:lnTo>
                      <a:cubicBezTo>
                        <a:pt x="155049" y="34195"/>
                        <a:pt x="155811" y="32766"/>
                        <a:pt x="156477" y="31337"/>
                      </a:cubicBezTo>
                      <a:lnTo>
                        <a:pt x="180195" y="31337"/>
                      </a:lnTo>
                      <a:cubicBezTo>
                        <a:pt x="180195" y="31337"/>
                        <a:pt x="182481" y="30099"/>
                        <a:pt x="183243" y="28670"/>
                      </a:cubicBezTo>
                      <a:cubicBezTo>
                        <a:pt x="184005" y="27146"/>
                        <a:pt x="185243" y="24575"/>
                        <a:pt x="187053" y="24575"/>
                      </a:cubicBezTo>
                      <a:lnTo>
                        <a:pt x="159907" y="24575"/>
                      </a:lnTo>
                      <a:cubicBezTo>
                        <a:pt x="161050" y="22289"/>
                        <a:pt x="162002" y="20098"/>
                        <a:pt x="162954" y="18002"/>
                      </a:cubicBezTo>
                      <a:lnTo>
                        <a:pt x="183433" y="18002"/>
                      </a:lnTo>
                      <a:cubicBezTo>
                        <a:pt x="183433" y="18002"/>
                        <a:pt x="185719" y="16764"/>
                        <a:pt x="186481" y="15240"/>
                      </a:cubicBezTo>
                      <a:cubicBezTo>
                        <a:pt x="187243" y="13716"/>
                        <a:pt x="188482" y="11144"/>
                        <a:pt x="190291" y="11144"/>
                      </a:cubicBezTo>
                      <a:lnTo>
                        <a:pt x="166002" y="11144"/>
                      </a:lnTo>
                      <a:cubicBezTo>
                        <a:pt x="167717" y="7144"/>
                        <a:pt x="168669" y="4667"/>
                        <a:pt x="168765" y="4381"/>
                      </a:cubicBezTo>
                      <a:cubicBezTo>
                        <a:pt x="169622" y="1429"/>
                        <a:pt x="171908" y="0"/>
                        <a:pt x="171908" y="0"/>
                      </a:cubicBezTo>
                      <a:lnTo>
                        <a:pt x="157335" y="0"/>
                      </a:lnTo>
                      <a:cubicBezTo>
                        <a:pt x="157335" y="0"/>
                        <a:pt x="155811" y="4477"/>
                        <a:pt x="153144" y="11240"/>
                      </a:cubicBezTo>
                      <a:lnTo>
                        <a:pt x="137142" y="11240"/>
                      </a:lnTo>
                      <a:cubicBezTo>
                        <a:pt x="135332" y="11240"/>
                        <a:pt x="134094" y="13811"/>
                        <a:pt x="133332" y="15335"/>
                      </a:cubicBezTo>
                      <a:cubicBezTo>
                        <a:pt x="132570" y="16859"/>
                        <a:pt x="130284" y="18098"/>
                        <a:pt x="130284" y="18098"/>
                      </a:cubicBezTo>
                      <a:lnTo>
                        <a:pt x="150286" y="18098"/>
                      </a:lnTo>
                      <a:cubicBezTo>
                        <a:pt x="149429" y="20193"/>
                        <a:pt x="148381" y="22384"/>
                        <a:pt x="147429" y="24670"/>
                      </a:cubicBezTo>
                      <a:lnTo>
                        <a:pt x="133427" y="24670"/>
                      </a:lnTo>
                      <a:cubicBezTo>
                        <a:pt x="131617" y="24670"/>
                        <a:pt x="130379" y="27242"/>
                        <a:pt x="129617" y="28766"/>
                      </a:cubicBezTo>
                      <a:cubicBezTo>
                        <a:pt x="128855" y="30290"/>
                        <a:pt x="126569" y="31433"/>
                        <a:pt x="126569" y="31433"/>
                      </a:cubicBezTo>
                      <a:lnTo>
                        <a:pt x="144190" y="31433"/>
                      </a:lnTo>
                      <a:lnTo>
                        <a:pt x="142380" y="34957"/>
                      </a:lnTo>
                      <a:lnTo>
                        <a:pt x="140761" y="38005"/>
                      </a:lnTo>
                      <a:lnTo>
                        <a:pt x="125426" y="38005"/>
                      </a:lnTo>
                      <a:cubicBezTo>
                        <a:pt x="123616" y="38005"/>
                        <a:pt x="122378" y="40577"/>
                        <a:pt x="121711" y="42100"/>
                      </a:cubicBezTo>
                      <a:cubicBezTo>
                        <a:pt x="120949" y="43625"/>
                        <a:pt x="118663" y="44863"/>
                        <a:pt x="118663" y="44863"/>
                      </a:cubicBezTo>
                      <a:lnTo>
                        <a:pt x="137142" y="44863"/>
                      </a:lnTo>
                      <a:cubicBezTo>
                        <a:pt x="132379" y="53435"/>
                        <a:pt x="127521" y="60865"/>
                        <a:pt x="121426" y="66866"/>
                      </a:cubicBezTo>
                      <a:cubicBezTo>
                        <a:pt x="119330" y="68961"/>
                        <a:pt x="117235" y="70866"/>
                        <a:pt x="115139" y="72581"/>
                      </a:cubicBezTo>
                      <a:cubicBezTo>
                        <a:pt x="112758" y="72676"/>
                        <a:pt x="110186" y="72771"/>
                        <a:pt x="107328" y="72866"/>
                      </a:cubicBezTo>
                      <a:cubicBezTo>
                        <a:pt x="95613" y="73152"/>
                        <a:pt x="85611" y="68771"/>
                        <a:pt x="85611" y="68771"/>
                      </a:cubicBezTo>
                      <a:lnTo>
                        <a:pt x="56370" y="53912"/>
                      </a:lnTo>
                      <a:lnTo>
                        <a:pt x="59799" y="44863"/>
                      </a:lnTo>
                      <a:lnTo>
                        <a:pt x="90755" y="44863"/>
                      </a:lnTo>
                      <a:cubicBezTo>
                        <a:pt x="90755" y="44863"/>
                        <a:pt x="93041" y="43625"/>
                        <a:pt x="93803" y="42196"/>
                      </a:cubicBezTo>
                      <a:cubicBezTo>
                        <a:pt x="94565" y="40672"/>
                        <a:pt x="95803" y="38100"/>
                        <a:pt x="97613" y="38100"/>
                      </a:cubicBezTo>
                      <a:lnTo>
                        <a:pt x="62370" y="38100"/>
                      </a:lnTo>
                      <a:lnTo>
                        <a:pt x="64752" y="31718"/>
                      </a:lnTo>
                      <a:lnTo>
                        <a:pt x="93994" y="31718"/>
                      </a:lnTo>
                      <a:cubicBezTo>
                        <a:pt x="93994" y="31718"/>
                        <a:pt x="94565" y="31718"/>
                        <a:pt x="94565" y="31718"/>
                      </a:cubicBezTo>
                      <a:cubicBezTo>
                        <a:pt x="94565" y="31718"/>
                        <a:pt x="96851" y="30480"/>
                        <a:pt x="97613" y="29051"/>
                      </a:cubicBezTo>
                      <a:cubicBezTo>
                        <a:pt x="98375" y="27527"/>
                        <a:pt x="99613" y="24956"/>
                        <a:pt x="101423" y="24956"/>
                      </a:cubicBezTo>
                      <a:lnTo>
                        <a:pt x="67419" y="24956"/>
                      </a:lnTo>
                      <a:lnTo>
                        <a:pt x="69800" y="18764"/>
                      </a:lnTo>
                      <a:lnTo>
                        <a:pt x="98089" y="18764"/>
                      </a:lnTo>
                      <a:cubicBezTo>
                        <a:pt x="98089" y="18764"/>
                        <a:pt x="100375" y="17526"/>
                        <a:pt x="101137" y="16002"/>
                      </a:cubicBezTo>
                      <a:cubicBezTo>
                        <a:pt x="101899" y="14478"/>
                        <a:pt x="103137" y="11906"/>
                        <a:pt x="104947" y="11906"/>
                      </a:cubicBezTo>
                      <a:lnTo>
                        <a:pt x="84659" y="11906"/>
                      </a:lnTo>
                      <a:cubicBezTo>
                        <a:pt x="85326" y="11049"/>
                        <a:pt x="90755" y="4096"/>
                        <a:pt x="92374" y="2762"/>
                      </a:cubicBezTo>
                      <a:cubicBezTo>
                        <a:pt x="94184" y="1333"/>
                        <a:pt x="96851" y="571"/>
                        <a:pt x="96851" y="571"/>
                      </a:cubicBezTo>
                      <a:lnTo>
                        <a:pt x="81706" y="571"/>
                      </a:lnTo>
                      <a:cubicBezTo>
                        <a:pt x="81706" y="571"/>
                        <a:pt x="79325" y="1048"/>
                        <a:pt x="77896" y="2286"/>
                      </a:cubicBezTo>
                      <a:cubicBezTo>
                        <a:pt x="77896" y="2286"/>
                        <a:pt x="71134" y="10382"/>
                        <a:pt x="69800" y="11906"/>
                      </a:cubicBezTo>
                      <a:lnTo>
                        <a:pt x="60370" y="11906"/>
                      </a:lnTo>
                      <a:cubicBezTo>
                        <a:pt x="59132" y="10382"/>
                        <a:pt x="52369" y="2286"/>
                        <a:pt x="52369" y="2286"/>
                      </a:cubicBezTo>
                      <a:cubicBezTo>
                        <a:pt x="50941" y="1048"/>
                        <a:pt x="48559" y="571"/>
                        <a:pt x="48559" y="571"/>
                      </a:cubicBezTo>
                      <a:lnTo>
                        <a:pt x="33415" y="571"/>
                      </a:lnTo>
                      <a:cubicBezTo>
                        <a:pt x="33415" y="571"/>
                        <a:pt x="36082" y="1333"/>
                        <a:pt x="37891" y="2762"/>
                      </a:cubicBezTo>
                      <a:cubicBezTo>
                        <a:pt x="39510" y="4096"/>
                        <a:pt x="44940" y="10954"/>
                        <a:pt x="45607" y="11906"/>
                      </a:cubicBezTo>
                      <a:lnTo>
                        <a:pt x="26652" y="11906"/>
                      </a:lnTo>
                      <a:cubicBezTo>
                        <a:pt x="24842" y="11906"/>
                        <a:pt x="23604" y="14478"/>
                        <a:pt x="22842" y="16002"/>
                      </a:cubicBezTo>
                      <a:cubicBezTo>
                        <a:pt x="22080" y="17526"/>
                        <a:pt x="19794" y="18669"/>
                        <a:pt x="19794" y="18669"/>
                      </a:cubicBezTo>
                      <a:lnTo>
                        <a:pt x="55989" y="18669"/>
                      </a:lnTo>
                      <a:cubicBezTo>
                        <a:pt x="55989" y="18669"/>
                        <a:pt x="53608" y="24956"/>
                        <a:pt x="53608" y="24956"/>
                      </a:cubicBezTo>
                      <a:lnTo>
                        <a:pt x="23127" y="24956"/>
                      </a:lnTo>
                      <a:cubicBezTo>
                        <a:pt x="21318" y="24956"/>
                        <a:pt x="20079" y="27527"/>
                        <a:pt x="19318" y="29051"/>
                      </a:cubicBezTo>
                      <a:cubicBezTo>
                        <a:pt x="18555" y="30575"/>
                        <a:pt x="16269" y="31718"/>
                        <a:pt x="16269" y="31718"/>
                      </a:cubicBezTo>
                      <a:lnTo>
                        <a:pt x="50845" y="31718"/>
                      </a:lnTo>
                      <a:lnTo>
                        <a:pt x="48369" y="38100"/>
                      </a:lnTo>
                      <a:lnTo>
                        <a:pt x="19222" y="38100"/>
                      </a:lnTo>
                      <a:cubicBezTo>
                        <a:pt x="17412" y="38100"/>
                        <a:pt x="16174" y="40672"/>
                        <a:pt x="15508" y="42196"/>
                      </a:cubicBezTo>
                      <a:cubicBezTo>
                        <a:pt x="14841" y="43720"/>
                        <a:pt x="12460" y="44863"/>
                        <a:pt x="12460" y="44863"/>
                      </a:cubicBezTo>
                      <a:lnTo>
                        <a:pt x="45797" y="44863"/>
                      </a:lnTo>
                      <a:lnTo>
                        <a:pt x="43702" y="50387"/>
                      </a:lnTo>
                      <a:cubicBezTo>
                        <a:pt x="43702" y="50387"/>
                        <a:pt x="35034" y="48292"/>
                        <a:pt x="28366" y="48958"/>
                      </a:cubicBezTo>
                      <a:cubicBezTo>
                        <a:pt x="20079" y="49721"/>
                        <a:pt x="13984" y="54388"/>
                        <a:pt x="12364" y="59627"/>
                      </a:cubicBezTo>
                      <a:cubicBezTo>
                        <a:pt x="10078" y="67151"/>
                        <a:pt x="16365" y="74962"/>
                        <a:pt x="28843" y="74676"/>
                      </a:cubicBezTo>
                      <a:cubicBezTo>
                        <a:pt x="43987" y="74295"/>
                        <a:pt x="51226" y="62960"/>
                        <a:pt x="51226" y="62960"/>
                      </a:cubicBezTo>
                      <a:cubicBezTo>
                        <a:pt x="51226" y="62960"/>
                        <a:pt x="67895" y="73247"/>
                        <a:pt x="79135" y="76581"/>
                      </a:cubicBezTo>
                      <a:cubicBezTo>
                        <a:pt x="86754" y="78867"/>
                        <a:pt x="94565" y="80581"/>
                        <a:pt x="104376" y="79915"/>
                      </a:cubicBezTo>
                      <a:cubicBezTo>
                        <a:pt x="96470" y="84487"/>
                        <a:pt x="87612" y="87630"/>
                        <a:pt x="75896" y="90583"/>
                      </a:cubicBezTo>
                      <a:cubicBezTo>
                        <a:pt x="61418" y="94202"/>
                        <a:pt x="43511" y="94202"/>
                        <a:pt x="32367" y="90488"/>
                      </a:cubicBezTo>
                      <a:cubicBezTo>
                        <a:pt x="21318" y="86773"/>
                        <a:pt x="15222" y="81820"/>
                        <a:pt x="10174" y="76581"/>
                      </a:cubicBezTo>
                      <a:cubicBezTo>
                        <a:pt x="2363" y="68390"/>
                        <a:pt x="172" y="61817"/>
                        <a:pt x="172" y="61817"/>
                      </a:cubicBezTo>
                      <a:cubicBezTo>
                        <a:pt x="-971" y="62960"/>
                        <a:pt x="3792" y="71628"/>
                        <a:pt x="8078" y="76486"/>
                      </a:cubicBezTo>
                      <a:cubicBezTo>
                        <a:pt x="14079" y="83248"/>
                        <a:pt x="22651" y="91916"/>
                        <a:pt x="37701" y="94679"/>
                      </a:cubicBezTo>
                      <a:cubicBezTo>
                        <a:pt x="54465" y="97822"/>
                        <a:pt x="69610" y="97346"/>
                        <a:pt x="87707" y="92107"/>
                      </a:cubicBezTo>
                      <a:cubicBezTo>
                        <a:pt x="101709" y="88106"/>
                        <a:pt x="111615" y="83344"/>
                        <a:pt x="120759" y="76771"/>
                      </a:cubicBezTo>
                      <a:cubicBezTo>
                        <a:pt x="128379" y="74581"/>
                        <a:pt x="131903" y="72581"/>
                        <a:pt x="136380" y="69533"/>
                      </a:cubicBezTo>
                      <a:cubicBezTo>
                        <a:pt x="143714" y="64484"/>
                        <a:pt x="145810" y="58674"/>
                        <a:pt x="145810" y="58674"/>
                      </a:cubicBezTo>
                      <a:cubicBezTo>
                        <a:pt x="145810" y="58674"/>
                        <a:pt x="144381" y="61531"/>
                        <a:pt x="141619" y="63532"/>
                      </a:cubicBezTo>
                      <a:cubicBezTo>
                        <a:pt x="139428" y="65151"/>
                        <a:pt x="138570" y="65818"/>
                        <a:pt x="135903" y="67151"/>
                      </a:cubicBezTo>
                      <a:cubicBezTo>
                        <a:pt x="133522" y="68294"/>
                        <a:pt x="131332" y="69247"/>
                        <a:pt x="129236" y="69914"/>
                      </a:cubicBezTo>
                      <a:lnTo>
                        <a:pt x="130474" y="68771"/>
                      </a:lnTo>
                      <a:cubicBezTo>
                        <a:pt x="138570" y="61341"/>
                        <a:pt x="143809" y="53531"/>
                        <a:pt x="149048" y="44577"/>
                      </a:cubicBezTo>
                      <a:lnTo>
                        <a:pt x="168098" y="44577"/>
                      </a:lnTo>
                      <a:lnTo>
                        <a:pt x="167717" y="46101"/>
                      </a:lnTo>
                      <a:lnTo>
                        <a:pt x="166002" y="51054"/>
                      </a:lnTo>
                      <a:lnTo>
                        <a:pt x="153429" y="51054"/>
                      </a:lnTo>
                      <a:cubicBezTo>
                        <a:pt x="151620" y="51054"/>
                        <a:pt x="150382" y="53626"/>
                        <a:pt x="149715" y="55150"/>
                      </a:cubicBezTo>
                      <a:cubicBezTo>
                        <a:pt x="148953" y="56674"/>
                        <a:pt x="146667" y="57912"/>
                        <a:pt x="146667" y="57912"/>
                      </a:cubicBezTo>
                      <a:lnTo>
                        <a:pt x="163621" y="57912"/>
                      </a:lnTo>
                      <a:cubicBezTo>
                        <a:pt x="161811" y="62960"/>
                        <a:pt x="159716" y="68485"/>
                        <a:pt x="158192" y="72295"/>
                      </a:cubicBezTo>
                      <a:cubicBezTo>
                        <a:pt x="155620" y="78677"/>
                        <a:pt x="151905" y="79343"/>
                        <a:pt x="151905" y="79343"/>
                      </a:cubicBezTo>
                      <a:cubicBezTo>
                        <a:pt x="152572" y="78296"/>
                        <a:pt x="152668" y="76962"/>
                        <a:pt x="152668" y="75629"/>
                      </a:cubicBezTo>
                      <a:cubicBezTo>
                        <a:pt x="152286" y="71628"/>
                        <a:pt x="148953" y="68390"/>
                        <a:pt x="144762" y="68390"/>
                      </a:cubicBezTo>
                      <a:cubicBezTo>
                        <a:pt x="140571" y="68390"/>
                        <a:pt x="137142" y="71819"/>
                        <a:pt x="137142" y="75914"/>
                      </a:cubicBezTo>
                      <a:cubicBezTo>
                        <a:pt x="137142" y="80010"/>
                        <a:pt x="138856" y="82010"/>
                        <a:pt x="142000" y="83439"/>
                      </a:cubicBezTo>
                      <a:cubicBezTo>
                        <a:pt x="144095" y="84392"/>
                        <a:pt x="144952" y="84296"/>
                        <a:pt x="147905" y="84296"/>
                      </a:cubicBezTo>
                      <a:cubicBezTo>
                        <a:pt x="156001" y="83725"/>
                        <a:pt x="164383" y="79439"/>
                        <a:pt x="168479" y="73628"/>
                      </a:cubicBezTo>
                      <a:cubicBezTo>
                        <a:pt x="169432" y="72200"/>
                        <a:pt x="170670" y="69628"/>
                        <a:pt x="170670" y="69628"/>
                      </a:cubicBezTo>
                      <a:cubicBezTo>
                        <a:pt x="171718" y="67627"/>
                        <a:pt x="173432" y="62865"/>
                        <a:pt x="175146" y="58007"/>
                      </a:cubicBezTo>
                      <a:lnTo>
                        <a:pt x="186577" y="58007"/>
                      </a:lnTo>
                      <a:cubicBezTo>
                        <a:pt x="186577" y="58007"/>
                        <a:pt x="188862" y="56769"/>
                        <a:pt x="189625" y="55245"/>
                      </a:cubicBezTo>
                      <a:cubicBezTo>
                        <a:pt x="190386" y="53721"/>
                        <a:pt x="191625" y="51149"/>
                        <a:pt x="193435" y="51149"/>
                      </a:cubicBezTo>
                      <a:lnTo>
                        <a:pt x="177528" y="51149"/>
                      </a:lnTo>
                      <a:close/>
                    </a:path>
                  </a:pathLst>
                </a:custGeom>
                <a:solidFill>
                  <a:srgbClr val="002D7A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20" name="Freihandform: Form 445">
                <a:extLst>
                  <a:ext uri="{FF2B5EF4-FFF2-40B4-BE49-F238E27FC236}">
                    <a16:creationId xmlns:a16="http://schemas.microsoft.com/office/drawing/2014/main" id="{C878E60B-8435-72CB-C4C9-6BB5F0ED9DC0}"/>
                  </a:ext>
                </a:extLst>
              </p:cNvPr>
              <p:cNvSpPr/>
              <p:nvPr/>
            </p:nvSpPr>
            <p:spPr>
              <a:xfrm>
                <a:off x="4458169" y="6811337"/>
                <a:ext cx="24000" cy="10360"/>
              </a:xfrm>
              <a:custGeom>
                <a:avLst/>
                <a:gdLst>
                  <a:gd name="connsiteX0" fmla="*/ 857 w 24000"/>
                  <a:gd name="connsiteY0" fmla="*/ 10338 h 10360"/>
                  <a:gd name="connsiteX1" fmla="*/ 4667 w 24000"/>
                  <a:gd name="connsiteY1" fmla="*/ 9481 h 10360"/>
                  <a:gd name="connsiteX2" fmla="*/ 14002 w 24000"/>
                  <a:gd name="connsiteY2" fmla="*/ 9290 h 10360"/>
                  <a:gd name="connsiteX3" fmla="*/ 21907 w 24000"/>
                  <a:gd name="connsiteY3" fmla="*/ 2908 h 10360"/>
                  <a:gd name="connsiteX4" fmla="*/ 23717 w 24000"/>
                  <a:gd name="connsiteY4" fmla="*/ 146 h 10360"/>
                  <a:gd name="connsiteX5" fmla="*/ 15526 w 24000"/>
                  <a:gd name="connsiteY5" fmla="*/ 1861 h 10360"/>
                  <a:gd name="connsiteX6" fmla="*/ 6763 w 24000"/>
                  <a:gd name="connsiteY6" fmla="*/ 2718 h 10360"/>
                  <a:gd name="connsiteX7" fmla="*/ 0 w 24000"/>
                  <a:gd name="connsiteY7" fmla="*/ 9957 h 10360"/>
                  <a:gd name="connsiteX8" fmla="*/ 1048 w 24000"/>
                  <a:gd name="connsiteY8" fmla="*/ 10243 h 10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000" h="10360">
                    <a:moveTo>
                      <a:pt x="857" y="10338"/>
                    </a:moveTo>
                    <a:cubicBezTo>
                      <a:pt x="1619" y="9957"/>
                      <a:pt x="3048" y="9766"/>
                      <a:pt x="4667" y="9481"/>
                    </a:cubicBezTo>
                    <a:cubicBezTo>
                      <a:pt x="6191" y="9195"/>
                      <a:pt x="10573" y="9671"/>
                      <a:pt x="14002" y="9290"/>
                    </a:cubicBezTo>
                    <a:cubicBezTo>
                      <a:pt x="17431" y="8814"/>
                      <a:pt x="19907" y="5099"/>
                      <a:pt x="21907" y="2908"/>
                    </a:cubicBezTo>
                    <a:cubicBezTo>
                      <a:pt x="23908" y="718"/>
                      <a:pt x="24384" y="-425"/>
                      <a:pt x="23717" y="146"/>
                    </a:cubicBezTo>
                    <a:cubicBezTo>
                      <a:pt x="23050" y="622"/>
                      <a:pt x="18193" y="1956"/>
                      <a:pt x="15526" y="1861"/>
                    </a:cubicBezTo>
                    <a:cubicBezTo>
                      <a:pt x="11906" y="1861"/>
                      <a:pt x="9144" y="1861"/>
                      <a:pt x="6763" y="2718"/>
                    </a:cubicBezTo>
                    <a:cubicBezTo>
                      <a:pt x="4381" y="3575"/>
                      <a:pt x="0" y="9957"/>
                      <a:pt x="0" y="9957"/>
                    </a:cubicBezTo>
                    <a:cubicBezTo>
                      <a:pt x="0" y="9957"/>
                      <a:pt x="190" y="10624"/>
                      <a:pt x="1048" y="10243"/>
                    </a:cubicBezTo>
                  </a:path>
                </a:pathLst>
              </a:custGeom>
              <a:solidFill>
                <a:srgbClr val="002D7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1" name="Freihandform: Form 446">
                <a:extLst>
                  <a:ext uri="{FF2B5EF4-FFF2-40B4-BE49-F238E27FC236}">
                    <a16:creationId xmlns:a16="http://schemas.microsoft.com/office/drawing/2014/main" id="{C62B5380-325C-543A-0F2D-18A5E22C4C3E}"/>
                  </a:ext>
                </a:extLst>
              </p:cNvPr>
              <p:cNvSpPr/>
              <p:nvPr/>
            </p:nvSpPr>
            <p:spPr>
              <a:xfrm>
                <a:off x="4464169" y="6794803"/>
                <a:ext cx="24283" cy="9559"/>
              </a:xfrm>
              <a:custGeom>
                <a:avLst/>
                <a:gdLst>
                  <a:gd name="connsiteX0" fmla="*/ 857 w 24283"/>
                  <a:gd name="connsiteY0" fmla="*/ 9537 h 9559"/>
                  <a:gd name="connsiteX1" fmla="*/ 4667 w 24283"/>
                  <a:gd name="connsiteY1" fmla="*/ 8870 h 9559"/>
                  <a:gd name="connsiteX2" fmla="*/ 14002 w 24283"/>
                  <a:gd name="connsiteY2" fmla="*/ 8966 h 9559"/>
                  <a:gd name="connsiteX3" fmla="*/ 22098 w 24283"/>
                  <a:gd name="connsiteY3" fmla="*/ 2870 h 9559"/>
                  <a:gd name="connsiteX4" fmla="*/ 24003 w 24283"/>
                  <a:gd name="connsiteY4" fmla="*/ 107 h 9559"/>
                  <a:gd name="connsiteX5" fmla="*/ 15811 w 24283"/>
                  <a:gd name="connsiteY5" fmla="*/ 1536 h 9559"/>
                  <a:gd name="connsiteX6" fmla="*/ 7048 w 24283"/>
                  <a:gd name="connsiteY6" fmla="*/ 2108 h 9559"/>
                  <a:gd name="connsiteX7" fmla="*/ 0 w 24283"/>
                  <a:gd name="connsiteY7" fmla="*/ 9156 h 9559"/>
                  <a:gd name="connsiteX8" fmla="*/ 1048 w 24283"/>
                  <a:gd name="connsiteY8" fmla="*/ 9442 h 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283" h="9559">
                    <a:moveTo>
                      <a:pt x="857" y="9537"/>
                    </a:moveTo>
                    <a:cubicBezTo>
                      <a:pt x="1714" y="9251"/>
                      <a:pt x="3048" y="9061"/>
                      <a:pt x="4667" y="8870"/>
                    </a:cubicBezTo>
                    <a:cubicBezTo>
                      <a:pt x="6191" y="8680"/>
                      <a:pt x="10573" y="9251"/>
                      <a:pt x="14002" y="8966"/>
                    </a:cubicBezTo>
                    <a:cubicBezTo>
                      <a:pt x="17431" y="8680"/>
                      <a:pt x="20098" y="4965"/>
                      <a:pt x="22098" y="2870"/>
                    </a:cubicBezTo>
                    <a:cubicBezTo>
                      <a:pt x="24193" y="774"/>
                      <a:pt x="24670" y="-369"/>
                      <a:pt x="24003" y="107"/>
                    </a:cubicBezTo>
                    <a:cubicBezTo>
                      <a:pt x="23336" y="584"/>
                      <a:pt x="18383" y="1727"/>
                      <a:pt x="15811" y="1536"/>
                    </a:cubicBezTo>
                    <a:cubicBezTo>
                      <a:pt x="12192" y="1346"/>
                      <a:pt x="9430" y="1346"/>
                      <a:pt x="7048" y="2108"/>
                    </a:cubicBezTo>
                    <a:cubicBezTo>
                      <a:pt x="4572" y="2870"/>
                      <a:pt x="0" y="9156"/>
                      <a:pt x="0" y="9156"/>
                    </a:cubicBezTo>
                    <a:cubicBezTo>
                      <a:pt x="0" y="9156"/>
                      <a:pt x="190" y="9823"/>
                      <a:pt x="1048" y="9442"/>
                    </a:cubicBezTo>
                  </a:path>
                </a:pathLst>
              </a:custGeom>
              <a:solidFill>
                <a:srgbClr val="002D7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2" name="Freihandform: Form 447">
                <a:extLst>
                  <a:ext uri="{FF2B5EF4-FFF2-40B4-BE49-F238E27FC236}">
                    <a16:creationId xmlns:a16="http://schemas.microsoft.com/office/drawing/2014/main" id="{7A470DA9-D571-2ECC-29B8-4D871D25E0B5}"/>
                  </a:ext>
                </a:extLst>
              </p:cNvPr>
              <p:cNvSpPr/>
              <p:nvPr/>
            </p:nvSpPr>
            <p:spPr>
              <a:xfrm>
                <a:off x="4430451" y="6832057"/>
                <a:ext cx="15620" cy="15620"/>
              </a:xfrm>
              <a:custGeom>
                <a:avLst/>
                <a:gdLst>
                  <a:gd name="connsiteX0" fmla="*/ 0 w 15620"/>
                  <a:gd name="connsiteY0" fmla="*/ 7810 h 15620"/>
                  <a:gd name="connsiteX1" fmla="*/ 7811 w 15620"/>
                  <a:gd name="connsiteY1" fmla="*/ 15621 h 15620"/>
                  <a:gd name="connsiteX2" fmla="*/ 15621 w 15620"/>
                  <a:gd name="connsiteY2" fmla="*/ 7810 h 15620"/>
                  <a:gd name="connsiteX3" fmla="*/ 7811 w 15620"/>
                  <a:gd name="connsiteY3" fmla="*/ 0 h 15620"/>
                  <a:gd name="connsiteX4" fmla="*/ 0 w 15620"/>
                  <a:gd name="connsiteY4" fmla="*/ 7810 h 15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620" h="15620">
                    <a:moveTo>
                      <a:pt x="0" y="7810"/>
                    </a:moveTo>
                    <a:cubicBezTo>
                      <a:pt x="0" y="12097"/>
                      <a:pt x="3524" y="15621"/>
                      <a:pt x="7811" y="15621"/>
                    </a:cubicBezTo>
                    <a:cubicBezTo>
                      <a:pt x="12097" y="15621"/>
                      <a:pt x="15621" y="12097"/>
                      <a:pt x="15621" y="7810"/>
                    </a:cubicBezTo>
                    <a:cubicBezTo>
                      <a:pt x="15621" y="3524"/>
                      <a:pt x="12097" y="0"/>
                      <a:pt x="7811" y="0"/>
                    </a:cubicBezTo>
                    <a:cubicBezTo>
                      <a:pt x="3524" y="0"/>
                      <a:pt x="0" y="3524"/>
                      <a:pt x="0" y="7810"/>
                    </a:cubicBezTo>
                  </a:path>
                </a:pathLst>
              </a:custGeom>
              <a:solidFill>
                <a:srgbClr val="002D7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3" name="Freihandform: Form 448">
                <a:extLst>
                  <a:ext uri="{FF2B5EF4-FFF2-40B4-BE49-F238E27FC236}">
                    <a16:creationId xmlns:a16="http://schemas.microsoft.com/office/drawing/2014/main" id="{39AB0A2B-D52F-BEFA-1600-EBBC53AAE550}"/>
                  </a:ext>
                </a:extLst>
              </p:cNvPr>
              <p:cNvSpPr/>
              <p:nvPr/>
            </p:nvSpPr>
            <p:spPr>
              <a:xfrm>
                <a:off x="4451406" y="6832007"/>
                <a:ext cx="24156" cy="10455"/>
              </a:xfrm>
              <a:custGeom>
                <a:avLst/>
                <a:gdLst>
                  <a:gd name="connsiteX0" fmla="*/ 6763 w 24156"/>
                  <a:gd name="connsiteY0" fmla="*/ 2813 h 10455"/>
                  <a:gd name="connsiteX1" fmla="*/ 0 w 24156"/>
                  <a:gd name="connsiteY1" fmla="*/ 10052 h 10455"/>
                  <a:gd name="connsiteX2" fmla="*/ 1048 w 24156"/>
                  <a:gd name="connsiteY2" fmla="*/ 10338 h 10455"/>
                  <a:gd name="connsiteX3" fmla="*/ 4858 w 24156"/>
                  <a:gd name="connsiteY3" fmla="*/ 9481 h 10455"/>
                  <a:gd name="connsiteX4" fmla="*/ 14192 w 24156"/>
                  <a:gd name="connsiteY4" fmla="*/ 9290 h 10455"/>
                  <a:gd name="connsiteX5" fmla="*/ 22098 w 24156"/>
                  <a:gd name="connsiteY5" fmla="*/ 2908 h 10455"/>
                  <a:gd name="connsiteX6" fmla="*/ 23813 w 24156"/>
                  <a:gd name="connsiteY6" fmla="*/ 146 h 10455"/>
                  <a:gd name="connsiteX7" fmla="*/ 15621 w 24156"/>
                  <a:gd name="connsiteY7" fmla="*/ 1861 h 10455"/>
                  <a:gd name="connsiteX8" fmla="*/ 6858 w 24156"/>
                  <a:gd name="connsiteY8" fmla="*/ 2718 h 10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156" h="10455">
                    <a:moveTo>
                      <a:pt x="6763" y="2813"/>
                    </a:moveTo>
                    <a:cubicBezTo>
                      <a:pt x="4382" y="3670"/>
                      <a:pt x="0" y="10052"/>
                      <a:pt x="0" y="10052"/>
                    </a:cubicBezTo>
                    <a:cubicBezTo>
                      <a:pt x="0" y="10052"/>
                      <a:pt x="191" y="10719"/>
                      <a:pt x="1048" y="10338"/>
                    </a:cubicBezTo>
                    <a:cubicBezTo>
                      <a:pt x="1905" y="9957"/>
                      <a:pt x="3239" y="9766"/>
                      <a:pt x="4858" y="9481"/>
                    </a:cubicBezTo>
                    <a:cubicBezTo>
                      <a:pt x="6382" y="9290"/>
                      <a:pt x="10763" y="9671"/>
                      <a:pt x="14192" y="9290"/>
                    </a:cubicBezTo>
                    <a:cubicBezTo>
                      <a:pt x="17621" y="8814"/>
                      <a:pt x="20098" y="5099"/>
                      <a:pt x="22098" y="2908"/>
                    </a:cubicBezTo>
                    <a:cubicBezTo>
                      <a:pt x="24099" y="718"/>
                      <a:pt x="24575" y="-425"/>
                      <a:pt x="23813" y="146"/>
                    </a:cubicBezTo>
                    <a:cubicBezTo>
                      <a:pt x="23146" y="622"/>
                      <a:pt x="18288" y="1956"/>
                      <a:pt x="15621" y="1861"/>
                    </a:cubicBezTo>
                    <a:cubicBezTo>
                      <a:pt x="12002" y="1861"/>
                      <a:pt x="9239" y="1861"/>
                      <a:pt x="6858" y="2718"/>
                    </a:cubicBezTo>
                  </a:path>
                </a:pathLst>
              </a:custGeom>
              <a:solidFill>
                <a:srgbClr val="002D7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4" name="Freihandform: Form 449">
                <a:extLst>
                  <a:ext uri="{FF2B5EF4-FFF2-40B4-BE49-F238E27FC236}">
                    <a16:creationId xmlns:a16="http://schemas.microsoft.com/office/drawing/2014/main" id="{F64DC61C-864B-02E0-2D68-2C824B7FEF67}"/>
                  </a:ext>
                </a:extLst>
              </p:cNvPr>
              <p:cNvSpPr/>
              <p:nvPr/>
            </p:nvSpPr>
            <p:spPr>
              <a:xfrm>
                <a:off x="4242237" y="6593551"/>
                <a:ext cx="79152" cy="260985"/>
              </a:xfrm>
              <a:custGeom>
                <a:avLst/>
                <a:gdLst>
                  <a:gd name="connsiteX0" fmla="*/ 79058 w 79152"/>
                  <a:gd name="connsiteY0" fmla="*/ 0 h 260985"/>
                  <a:gd name="connsiteX1" fmla="*/ 33147 w 79152"/>
                  <a:gd name="connsiteY1" fmla="*/ 78296 h 260985"/>
                  <a:gd name="connsiteX2" fmla="*/ 50863 w 79152"/>
                  <a:gd name="connsiteY2" fmla="*/ 167450 h 260985"/>
                  <a:gd name="connsiteX3" fmla="*/ 0 w 79152"/>
                  <a:gd name="connsiteY3" fmla="*/ 260985 h 260985"/>
                  <a:gd name="connsiteX4" fmla="*/ 68771 w 79152"/>
                  <a:gd name="connsiteY4" fmla="*/ 204502 h 260985"/>
                  <a:gd name="connsiteX5" fmla="*/ 62960 w 79152"/>
                  <a:gd name="connsiteY5" fmla="*/ 116681 h 260985"/>
                  <a:gd name="connsiteX6" fmla="*/ 79153 w 79152"/>
                  <a:gd name="connsiteY6" fmla="*/ 0 h 260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152" h="260985">
                    <a:moveTo>
                      <a:pt x="79058" y="0"/>
                    </a:moveTo>
                    <a:cubicBezTo>
                      <a:pt x="79058" y="0"/>
                      <a:pt x="39053" y="43339"/>
                      <a:pt x="33147" y="78296"/>
                    </a:cubicBezTo>
                    <a:cubicBezTo>
                      <a:pt x="27242" y="113252"/>
                      <a:pt x="50863" y="140780"/>
                      <a:pt x="50863" y="167450"/>
                    </a:cubicBezTo>
                    <a:cubicBezTo>
                      <a:pt x="55054" y="218789"/>
                      <a:pt x="19526" y="247936"/>
                      <a:pt x="0" y="260985"/>
                    </a:cubicBezTo>
                    <a:cubicBezTo>
                      <a:pt x="0" y="260985"/>
                      <a:pt x="50197" y="248984"/>
                      <a:pt x="68771" y="204502"/>
                    </a:cubicBezTo>
                    <a:cubicBezTo>
                      <a:pt x="83534" y="169259"/>
                      <a:pt x="69818" y="134112"/>
                      <a:pt x="62960" y="116681"/>
                    </a:cubicBezTo>
                    <a:cubicBezTo>
                      <a:pt x="38291" y="54197"/>
                      <a:pt x="79153" y="0"/>
                      <a:pt x="79153" y="0"/>
                    </a:cubicBezTo>
                  </a:path>
                </a:pathLst>
              </a:custGeom>
              <a:solidFill>
                <a:srgbClr val="E6001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E54309A0-2CC0-6EA0-59A0-0CD5F8AB063A}"/>
                </a:ext>
              </a:extLst>
            </p:cNvPr>
            <p:cNvGrpSpPr/>
            <p:nvPr/>
          </p:nvGrpSpPr>
          <p:grpSpPr>
            <a:xfrm>
              <a:off x="3650925" y="6544117"/>
              <a:ext cx="298227" cy="335470"/>
              <a:chOff x="3650925" y="6544117"/>
              <a:chExt cx="298227" cy="335470"/>
            </a:xfrm>
          </p:grpSpPr>
          <p:sp>
            <p:nvSpPr>
              <p:cNvPr id="74" name="Freihandform: Form 400">
                <a:extLst>
                  <a:ext uri="{FF2B5EF4-FFF2-40B4-BE49-F238E27FC236}">
                    <a16:creationId xmlns:a16="http://schemas.microsoft.com/office/drawing/2014/main" id="{BB799074-F83D-7A7B-55BF-F74DD4BB0EF4}"/>
                  </a:ext>
                </a:extLst>
              </p:cNvPr>
              <p:cNvSpPr/>
              <p:nvPr/>
            </p:nvSpPr>
            <p:spPr>
              <a:xfrm>
                <a:off x="3650925" y="6544117"/>
                <a:ext cx="298227" cy="298227"/>
              </a:xfrm>
              <a:custGeom>
                <a:avLst/>
                <a:gdLst>
                  <a:gd name="connsiteX0" fmla="*/ 95 w 298227"/>
                  <a:gd name="connsiteY0" fmla="*/ 0 h 298227"/>
                  <a:gd name="connsiteX1" fmla="*/ 0 w 298227"/>
                  <a:gd name="connsiteY1" fmla="*/ 298228 h 298227"/>
                  <a:gd name="connsiteX2" fmla="*/ 298228 w 298227"/>
                  <a:gd name="connsiteY2" fmla="*/ 298228 h 298227"/>
                  <a:gd name="connsiteX3" fmla="*/ 298228 w 298227"/>
                  <a:gd name="connsiteY3" fmla="*/ 0 h 298227"/>
                  <a:gd name="connsiteX4" fmla="*/ 95 w 298227"/>
                  <a:gd name="connsiteY4" fmla="*/ 0 h 298227"/>
                  <a:gd name="connsiteX5" fmla="*/ 95 w 298227"/>
                  <a:gd name="connsiteY5" fmla="*/ 0 h 298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8227" h="298227">
                    <a:moveTo>
                      <a:pt x="95" y="0"/>
                    </a:moveTo>
                    <a:lnTo>
                      <a:pt x="0" y="298228"/>
                    </a:lnTo>
                    <a:lnTo>
                      <a:pt x="298228" y="298228"/>
                    </a:lnTo>
                    <a:lnTo>
                      <a:pt x="298228" y="0"/>
                    </a:lnTo>
                    <a:lnTo>
                      <a:pt x="95" y="0"/>
                    </a:lnTo>
                    <a:lnTo>
                      <a:pt x="95" y="0"/>
                    </a:lnTo>
                    <a:close/>
                  </a:path>
                </a:pathLst>
              </a:custGeom>
              <a:solidFill>
                <a:srgbClr val="BB173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5" name="Freihandform: Form 401">
                <a:extLst>
                  <a:ext uri="{FF2B5EF4-FFF2-40B4-BE49-F238E27FC236}">
                    <a16:creationId xmlns:a16="http://schemas.microsoft.com/office/drawing/2014/main" id="{FC987E4C-54A8-DBEB-381F-71D06A86D794}"/>
                  </a:ext>
                </a:extLst>
              </p:cNvPr>
              <p:cNvSpPr/>
              <p:nvPr/>
            </p:nvSpPr>
            <p:spPr>
              <a:xfrm>
                <a:off x="3695311" y="6678419"/>
                <a:ext cx="30670" cy="39528"/>
              </a:xfrm>
              <a:custGeom>
                <a:avLst/>
                <a:gdLst>
                  <a:gd name="connsiteX0" fmla="*/ 0 w 30670"/>
                  <a:gd name="connsiteY0" fmla="*/ 0 h 39528"/>
                  <a:gd name="connsiteX1" fmla="*/ 30671 w 30670"/>
                  <a:gd name="connsiteY1" fmla="*/ 0 h 39528"/>
                  <a:gd name="connsiteX2" fmla="*/ 30671 w 30670"/>
                  <a:gd name="connsiteY2" fmla="*/ 4096 h 39528"/>
                  <a:gd name="connsiteX3" fmla="*/ 4858 w 30670"/>
                  <a:gd name="connsiteY3" fmla="*/ 4096 h 39528"/>
                  <a:gd name="connsiteX4" fmla="*/ 4858 w 30670"/>
                  <a:gd name="connsiteY4" fmla="*/ 18193 h 39528"/>
                  <a:gd name="connsiteX5" fmla="*/ 27908 w 30670"/>
                  <a:gd name="connsiteY5" fmla="*/ 18193 h 39528"/>
                  <a:gd name="connsiteX6" fmla="*/ 27908 w 30670"/>
                  <a:gd name="connsiteY6" fmla="*/ 22288 h 39528"/>
                  <a:gd name="connsiteX7" fmla="*/ 4858 w 30670"/>
                  <a:gd name="connsiteY7" fmla="*/ 22288 h 39528"/>
                  <a:gd name="connsiteX8" fmla="*/ 4858 w 30670"/>
                  <a:gd name="connsiteY8" fmla="*/ 39529 h 39528"/>
                  <a:gd name="connsiteX9" fmla="*/ 0 w 30670"/>
                  <a:gd name="connsiteY9" fmla="*/ 39529 h 39528"/>
                  <a:gd name="connsiteX10" fmla="*/ 0 w 30670"/>
                  <a:gd name="connsiteY10" fmla="*/ 0 h 39528"/>
                  <a:gd name="connsiteX11" fmla="*/ 0 w 30670"/>
                  <a:gd name="connsiteY11" fmla="*/ 0 h 39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670" h="39528">
                    <a:moveTo>
                      <a:pt x="0" y="0"/>
                    </a:moveTo>
                    <a:lnTo>
                      <a:pt x="30671" y="0"/>
                    </a:lnTo>
                    <a:lnTo>
                      <a:pt x="30671" y="4096"/>
                    </a:lnTo>
                    <a:lnTo>
                      <a:pt x="4858" y="4096"/>
                    </a:lnTo>
                    <a:lnTo>
                      <a:pt x="4858" y="18193"/>
                    </a:lnTo>
                    <a:lnTo>
                      <a:pt x="27908" y="18193"/>
                    </a:lnTo>
                    <a:lnTo>
                      <a:pt x="27908" y="22288"/>
                    </a:lnTo>
                    <a:lnTo>
                      <a:pt x="4858" y="22288"/>
                    </a:lnTo>
                    <a:lnTo>
                      <a:pt x="4858" y="39529"/>
                    </a:lnTo>
                    <a:lnTo>
                      <a:pt x="0" y="3952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6" name="Freihandform: Form 402">
                <a:extLst>
                  <a:ext uri="{FF2B5EF4-FFF2-40B4-BE49-F238E27FC236}">
                    <a16:creationId xmlns:a16="http://schemas.microsoft.com/office/drawing/2014/main" id="{3C3517A3-1719-C40C-4DFC-D9F73EEDFEA8}"/>
                  </a:ext>
                </a:extLst>
              </p:cNvPr>
              <p:cNvSpPr/>
              <p:nvPr/>
            </p:nvSpPr>
            <p:spPr>
              <a:xfrm>
                <a:off x="3735030" y="6678324"/>
                <a:ext cx="35623" cy="40195"/>
              </a:xfrm>
              <a:custGeom>
                <a:avLst/>
                <a:gdLst>
                  <a:gd name="connsiteX0" fmla="*/ 0 w 35623"/>
                  <a:gd name="connsiteY0" fmla="*/ 23050 h 40195"/>
                  <a:gd name="connsiteX1" fmla="*/ 0 w 35623"/>
                  <a:gd name="connsiteY1" fmla="*/ 0 h 40195"/>
                  <a:gd name="connsiteX2" fmla="*/ 4858 w 35623"/>
                  <a:gd name="connsiteY2" fmla="*/ 0 h 40195"/>
                  <a:gd name="connsiteX3" fmla="*/ 4858 w 35623"/>
                  <a:gd name="connsiteY3" fmla="*/ 22765 h 40195"/>
                  <a:gd name="connsiteX4" fmla="*/ 17907 w 35623"/>
                  <a:gd name="connsiteY4" fmla="*/ 36100 h 40195"/>
                  <a:gd name="connsiteX5" fmla="*/ 30766 w 35623"/>
                  <a:gd name="connsiteY5" fmla="*/ 23050 h 40195"/>
                  <a:gd name="connsiteX6" fmla="*/ 30766 w 35623"/>
                  <a:gd name="connsiteY6" fmla="*/ 0 h 40195"/>
                  <a:gd name="connsiteX7" fmla="*/ 35624 w 35623"/>
                  <a:gd name="connsiteY7" fmla="*/ 0 h 40195"/>
                  <a:gd name="connsiteX8" fmla="*/ 35624 w 35623"/>
                  <a:gd name="connsiteY8" fmla="*/ 22670 h 40195"/>
                  <a:gd name="connsiteX9" fmla="*/ 17812 w 35623"/>
                  <a:gd name="connsiteY9" fmla="*/ 40196 h 40195"/>
                  <a:gd name="connsiteX10" fmla="*/ 95 w 35623"/>
                  <a:gd name="connsiteY10" fmla="*/ 23050 h 40195"/>
                  <a:gd name="connsiteX11" fmla="*/ 95 w 35623"/>
                  <a:gd name="connsiteY11" fmla="*/ 23050 h 40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623" h="40195">
                    <a:moveTo>
                      <a:pt x="0" y="23050"/>
                    </a:moveTo>
                    <a:lnTo>
                      <a:pt x="0" y="0"/>
                    </a:lnTo>
                    <a:lnTo>
                      <a:pt x="4858" y="0"/>
                    </a:lnTo>
                    <a:lnTo>
                      <a:pt x="4858" y="22765"/>
                    </a:lnTo>
                    <a:cubicBezTo>
                      <a:pt x="4858" y="31337"/>
                      <a:pt x="9811" y="36100"/>
                      <a:pt x="17907" y="36100"/>
                    </a:cubicBezTo>
                    <a:cubicBezTo>
                      <a:pt x="26003" y="36100"/>
                      <a:pt x="30766" y="31718"/>
                      <a:pt x="30766" y="23050"/>
                    </a:cubicBezTo>
                    <a:lnTo>
                      <a:pt x="30766" y="0"/>
                    </a:lnTo>
                    <a:lnTo>
                      <a:pt x="35624" y="0"/>
                    </a:lnTo>
                    <a:lnTo>
                      <a:pt x="35624" y="22670"/>
                    </a:lnTo>
                    <a:cubicBezTo>
                      <a:pt x="35624" y="34195"/>
                      <a:pt x="28480" y="40196"/>
                      <a:pt x="17812" y="40196"/>
                    </a:cubicBezTo>
                    <a:cubicBezTo>
                      <a:pt x="7144" y="40196"/>
                      <a:pt x="95" y="34195"/>
                      <a:pt x="95" y="23050"/>
                    </a:cubicBezTo>
                    <a:lnTo>
                      <a:pt x="95" y="230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7" name="Freihandform: Form 403">
                <a:extLst>
                  <a:ext uri="{FF2B5EF4-FFF2-40B4-BE49-F238E27FC236}">
                    <a16:creationId xmlns:a16="http://schemas.microsoft.com/office/drawing/2014/main" id="{95EB9A12-B80C-FE36-3AEA-9BAFEEC74554}"/>
                  </a:ext>
                </a:extLst>
              </p:cNvPr>
              <p:cNvSpPr/>
              <p:nvPr/>
            </p:nvSpPr>
            <p:spPr>
              <a:xfrm>
                <a:off x="3780560" y="6677753"/>
                <a:ext cx="38862" cy="41052"/>
              </a:xfrm>
              <a:custGeom>
                <a:avLst/>
                <a:gdLst>
                  <a:gd name="connsiteX0" fmla="*/ 0 w 38862"/>
                  <a:gd name="connsiteY0" fmla="*/ 20574 h 41052"/>
                  <a:gd name="connsiteX1" fmla="*/ 0 w 38862"/>
                  <a:gd name="connsiteY1" fmla="*/ 20574 h 41052"/>
                  <a:gd name="connsiteX2" fmla="*/ 21431 w 38862"/>
                  <a:gd name="connsiteY2" fmla="*/ 0 h 41052"/>
                  <a:gd name="connsiteX3" fmla="*/ 37338 w 38862"/>
                  <a:gd name="connsiteY3" fmla="*/ 5239 h 41052"/>
                  <a:gd name="connsiteX4" fmla="*/ 34195 w 38862"/>
                  <a:gd name="connsiteY4" fmla="*/ 8668 h 41052"/>
                  <a:gd name="connsiteX5" fmla="*/ 21241 w 38862"/>
                  <a:gd name="connsiteY5" fmla="*/ 4191 h 41052"/>
                  <a:gd name="connsiteX6" fmla="*/ 5048 w 38862"/>
                  <a:gd name="connsiteY6" fmla="*/ 20383 h 41052"/>
                  <a:gd name="connsiteX7" fmla="*/ 5048 w 38862"/>
                  <a:gd name="connsiteY7" fmla="*/ 20383 h 41052"/>
                  <a:gd name="connsiteX8" fmla="*/ 21908 w 38862"/>
                  <a:gd name="connsiteY8" fmla="*/ 36957 h 41052"/>
                  <a:gd name="connsiteX9" fmla="*/ 34195 w 38862"/>
                  <a:gd name="connsiteY9" fmla="*/ 32956 h 41052"/>
                  <a:gd name="connsiteX10" fmla="*/ 34195 w 38862"/>
                  <a:gd name="connsiteY10" fmla="*/ 23146 h 41052"/>
                  <a:gd name="connsiteX11" fmla="*/ 21241 w 38862"/>
                  <a:gd name="connsiteY11" fmla="*/ 23146 h 41052"/>
                  <a:gd name="connsiteX12" fmla="*/ 21241 w 38862"/>
                  <a:gd name="connsiteY12" fmla="*/ 19145 h 41052"/>
                  <a:gd name="connsiteX13" fmla="*/ 38862 w 38862"/>
                  <a:gd name="connsiteY13" fmla="*/ 19145 h 41052"/>
                  <a:gd name="connsiteX14" fmla="*/ 38862 w 38862"/>
                  <a:gd name="connsiteY14" fmla="*/ 34957 h 41052"/>
                  <a:gd name="connsiteX15" fmla="*/ 21717 w 38862"/>
                  <a:gd name="connsiteY15" fmla="*/ 41053 h 41052"/>
                  <a:gd name="connsiteX16" fmla="*/ 0 w 38862"/>
                  <a:gd name="connsiteY16" fmla="*/ 20669 h 41052"/>
                  <a:gd name="connsiteX17" fmla="*/ 0 w 38862"/>
                  <a:gd name="connsiteY17" fmla="*/ 20669 h 41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8862" h="41052">
                    <a:moveTo>
                      <a:pt x="0" y="20574"/>
                    </a:moveTo>
                    <a:lnTo>
                      <a:pt x="0" y="20574"/>
                    </a:lnTo>
                    <a:cubicBezTo>
                      <a:pt x="0" y="9620"/>
                      <a:pt x="8572" y="0"/>
                      <a:pt x="21431" y="0"/>
                    </a:cubicBezTo>
                    <a:cubicBezTo>
                      <a:pt x="28670" y="0"/>
                      <a:pt x="33052" y="1905"/>
                      <a:pt x="37338" y="5239"/>
                    </a:cubicBezTo>
                    <a:lnTo>
                      <a:pt x="34195" y="8668"/>
                    </a:lnTo>
                    <a:cubicBezTo>
                      <a:pt x="30861" y="6001"/>
                      <a:pt x="27242" y="4191"/>
                      <a:pt x="21241" y="4191"/>
                    </a:cubicBezTo>
                    <a:cubicBezTo>
                      <a:pt x="11811" y="4191"/>
                      <a:pt x="5048" y="11621"/>
                      <a:pt x="5048" y="20383"/>
                    </a:cubicBezTo>
                    <a:lnTo>
                      <a:pt x="5048" y="20383"/>
                    </a:lnTo>
                    <a:cubicBezTo>
                      <a:pt x="5048" y="29908"/>
                      <a:pt x="11525" y="36957"/>
                      <a:pt x="21908" y="36957"/>
                    </a:cubicBezTo>
                    <a:cubicBezTo>
                      <a:pt x="26765" y="36957"/>
                      <a:pt x="31337" y="35242"/>
                      <a:pt x="34195" y="32956"/>
                    </a:cubicBezTo>
                    <a:lnTo>
                      <a:pt x="34195" y="23146"/>
                    </a:lnTo>
                    <a:lnTo>
                      <a:pt x="21241" y="23146"/>
                    </a:lnTo>
                    <a:lnTo>
                      <a:pt x="21241" y="19145"/>
                    </a:lnTo>
                    <a:lnTo>
                      <a:pt x="38862" y="19145"/>
                    </a:lnTo>
                    <a:lnTo>
                      <a:pt x="38862" y="34957"/>
                    </a:lnTo>
                    <a:cubicBezTo>
                      <a:pt x="34862" y="38195"/>
                      <a:pt x="28956" y="41053"/>
                      <a:pt x="21717" y="41053"/>
                    </a:cubicBezTo>
                    <a:cubicBezTo>
                      <a:pt x="8287" y="41053"/>
                      <a:pt x="0" y="32004"/>
                      <a:pt x="0" y="20669"/>
                    </a:cubicBezTo>
                    <a:lnTo>
                      <a:pt x="0" y="20669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8" name="Freihandform: Form 404">
                <a:extLst>
                  <a:ext uri="{FF2B5EF4-FFF2-40B4-BE49-F238E27FC236}">
                    <a16:creationId xmlns:a16="http://schemas.microsoft.com/office/drawing/2014/main" id="{380A0BC9-A2F0-4B8A-8EDE-2F880EA8162F}"/>
                  </a:ext>
                </a:extLst>
              </p:cNvPr>
              <p:cNvSpPr/>
              <p:nvPr/>
            </p:nvSpPr>
            <p:spPr>
              <a:xfrm>
                <a:off x="3826852" y="6678134"/>
                <a:ext cx="43338" cy="39909"/>
              </a:xfrm>
              <a:custGeom>
                <a:avLst/>
                <a:gdLst>
                  <a:gd name="connsiteX0" fmla="*/ 31337 w 43338"/>
                  <a:gd name="connsiteY0" fmla="*/ 25336 h 39909"/>
                  <a:gd name="connsiteX1" fmla="*/ 21622 w 43338"/>
                  <a:gd name="connsiteY1" fmla="*/ 5239 h 39909"/>
                  <a:gd name="connsiteX2" fmla="*/ 11906 w 43338"/>
                  <a:gd name="connsiteY2" fmla="*/ 25336 h 39909"/>
                  <a:gd name="connsiteX3" fmla="*/ 31337 w 43338"/>
                  <a:gd name="connsiteY3" fmla="*/ 25336 h 39909"/>
                  <a:gd name="connsiteX4" fmla="*/ 19431 w 43338"/>
                  <a:gd name="connsiteY4" fmla="*/ 0 h 39909"/>
                  <a:gd name="connsiteX5" fmla="*/ 23908 w 43338"/>
                  <a:gd name="connsiteY5" fmla="*/ 0 h 39909"/>
                  <a:gd name="connsiteX6" fmla="*/ 43339 w 43338"/>
                  <a:gd name="connsiteY6" fmla="*/ 39910 h 39909"/>
                  <a:gd name="connsiteX7" fmla="*/ 38195 w 43338"/>
                  <a:gd name="connsiteY7" fmla="*/ 39910 h 39909"/>
                  <a:gd name="connsiteX8" fmla="*/ 33242 w 43338"/>
                  <a:gd name="connsiteY8" fmla="*/ 29432 h 39909"/>
                  <a:gd name="connsiteX9" fmla="*/ 10001 w 43338"/>
                  <a:gd name="connsiteY9" fmla="*/ 29432 h 39909"/>
                  <a:gd name="connsiteX10" fmla="*/ 4953 w 43338"/>
                  <a:gd name="connsiteY10" fmla="*/ 39910 h 39909"/>
                  <a:gd name="connsiteX11" fmla="*/ 0 w 43338"/>
                  <a:gd name="connsiteY11" fmla="*/ 39910 h 39909"/>
                  <a:gd name="connsiteX12" fmla="*/ 19431 w 43338"/>
                  <a:gd name="connsiteY12" fmla="*/ 0 h 39909"/>
                  <a:gd name="connsiteX13" fmla="*/ 19431 w 43338"/>
                  <a:gd name="connsiteY13" fmla="*/ 0 h 39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338" h="39909">
                    <a:moveTo>
                      <a:pt x="31337" y="25336"/>
                    </a:moveTo>
                    <a:lnTo>
                      <a:pt x="21622" y="5239"/>
                    </a:lnTo>
                    <a:lnTo>
                      <a:pt x="11906" y="25336"/>
                    </a:lnTo>
                    <a:lnTo>
                      <a:pt x="31337" y="25336"/>
                    </a:lnTo>
                    <a:close/>
                    <a:moveTo>
                      <a:pt x="19431" y="0"/>
                    </a:moveTo>
                    <a:lnTo>
                      <a:pt x="23908" y="0"/>
                    </a:lnTo>
                    <a:lnTo>
                      <a:pt x="43339" y="39910"/>
                    </a:lnTo>
                    <a:lnTo>
                      <a:pt x="38195" y="39910"/>
                    </a:lnTo>
                    <a:lnTo>
                      <a:pt x="33242" y="29432"/>
                    </a:lnTo>
                    <a:lnTo>
                      <a:pt x="10001" y="29432"/>
                    </a:lnTo>
                    <a:lnTo>
                      <a:pt x="4953" y="39910"/>
                    </a:lnTo>
                    <a:lnTo>
                      <a:pt x="0" y="39910"/>
                    </a:lnTo>
                    <a:lnTo>
                      <a:pt x="19431" y="0"/>
                    </a:lnTo>
                    <a:lnTo>
                      <a:pt x="1943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9" name="Freihandform: Form 405">
                <a:extLst>
                  <a:ext uri="{FF2B5EF4-FFF2-40B4-BE49-F238E27FC236}">
                    <a16:creationId xmlns:a16="http://schemas.microsoft.com/office/drawing/2014/main" id="{4905BCAB-E7CA-A48D-2921-997070E45854}"/>
                  </a:ext>
                </a:extLst>
              </p:cNvPr>
              <p:cNvSpPr/>
              <p:nvPr/>
            </p:nvSpPr>
            <p:spPr>
              <a:xfrm>
                <a:off x="3879048" y="6678419"/>
                <a:ext cx="28860" cy="39528"/>
              </a:xfrm>
              <a:custGeom>
                <a:avLst/>
                <a:gdLst>
                  <a:gd name="connsiteX0" fmla="*/ 0 w 28860"/>
                  <a:gd name="connsiteY0" fmla="*/ 0 h 39528"/>
                  <a:gd name="connsiteX1" fmla="*/ 4858 w 28860"/>
                  <a:gd name="connsiteY1" fmla="*/ 0 h 39528"/>
                  <a:gd name="connsiteX2" fmla="*/ 4858 w 28860"/>
                  <a:gd name="connsiteY2" fmla="*/ 35433 h 39528"/>
                  <a:gd name="connsiteX3" fmla="*/ 28861 w 28860"/>
                  <a:gd name="connsiteY3" fmla="*/ 35433 h 39528"/>
                  <a:gd name="connsiteX4" fmla="*/ 28861 w 28860"/>
                  <a:gd name="connsiteY4" fmla="*/ 39529 h 39528"/>
                  <a:gd name="connsiteX5" fmla="*/ 0 w 28860"/>
                  <a:gd name="connsiteY5" fmla="*/ 39529 h 39528"/>
                  <a:gd name="connsiteX6" fmla="*/ 0 w 28860"/>
                  <a:gd name="connsiteY6" fmla="*/ 0 h 39528"/>
                  <a:gd name="connsiteX7" fmla="*/ 0 w 28860"/>
                  <a:gd name="connsiteY7" fmla="*/ 0 h 39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860" h="39528">
                    <a:moveTo>
                      <a:pt x="0" y="0"/>
                    </a:moveTo>
                    <a:lnTo>
                      <a:pt x="4858" y="0"/>
                    </a:lnTo>
                    <a:lnTo>
                      <a:pt x="4858" y="35433"/>
                    </a:lnTo>
                    <a:lnTo>
                      <a:pt x="28861" y="35433"/>
                    </a:lnTo>
                    <a:lnTo>
                      <a:pt x="28861" y="39529"/>
                    </a:lnTo>
                    <a:lnTo>
                      <a:pt x="0" y="3952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0" name="Freihandform: Form 406">
                <a:extLst>
                  <a:ext uri="{FF2B5EF4-FFF2-40B4-BE49-F238E27FC236}">
                    <a16:creationId xmlns:a16="http://schemas.microsoft.com/office/drawing/2014/main" id="{B1A7D3F7-ED10-E9CC-3C2B-79F5878B8629}"/>
                  </a:ext>
                </a:extLst>
              </p:cNvPr>
              <p:cNvSpPr/>
              <p:nvPr/>
            </p:nvSpPr>
            <p:spPr>
              <a:xfrm>
                <a:off x="3695026" y="6625555"/>
                <a:ext cx="38004" cy="43434"/>
              </a:xfrm>
              <a:custGeom>
                <a:avLst/>
                <a:gdLst>
                  <a:gd name="connsiteX0" fmla="*/ 0 w 38004"/>
                  <a:gd name="connsiteY0" fmla="*/ 0 h 43434"/>
                  <a:gd name="connsiteX1" fmla="*/ 8001 w 38004"/>
                  <a:gd name="connsiteY1" fmla="*/ 0 h 43434"/>
                  <a:gd name="connsiteX2" fmla="*/ 8001 w 38004"/>
                  <a:gd name="connsiteY2" fmla="*/ 18002 h 43434"/>
                  <a:gd name="connsiteX3" fmla="*/ 29908 w 38004"/>
                  <a:gd name="connsiteY3" fmla="*/ 18002 h 43434"/>
                  <a:gd name="connsiteX4" fmla="*/ 29908 w 38004"/>
                  <a:gd name="connsiteY4" fmla="*/ 0 h 43434"/>
                  <a:gd name="connsiteX5" fmla="*/ 38005 w 38004"/>
                  <a:gd name="connsiteY5" fmla="*/ 0 h 43434"/>
                  <a:gd name="connsiteX6" fmla="*/ 38005 w 38004"/>
                  <a:gd name="connsiteY6" fmla="*/ 43434 h 43434"/>
                  <a:gd name="connsiteX7" fmla="*/ 29908 w 38004"/>
                  <a:gd name="connsiteY7" fmla="*/ 43434 h 43434"/>
                  <a:gd name="connsiteX8" fmla="*/ 29908 w 38004"/>
                  <a:gd name="connsiteY8" fmla="*/ 25146 h 43434"/>
                  <a:gd name="connsiteX9" fmla="*/ 8001 w 38004"/>
                  <a:gd name="connsiteY9" fmla="*/ 25146 h 43434"/>
                  <a:gd name="connsiteX10" fmla="*/ 8001 w 38004"/>
                  <a:gd name="connsiteY10" fmla="*/ 43434 h 43434"/>
                  <a:gd name="connsiteX11" fmla="*/ 0 w 38004"/>
                  <a:gd name="connsiteY11" fmla="*/ 43434 h 43434"/>
                  <a:gd name="connsiteX12" fmla="*/ 0 w 38004"/>
                  <a:gd name="connsiteY12" fmla="*/ 0 h 43434"/>
                  <a:gd name="connsiteX13" fmla="*/ 0 w 38004"/>
                  <a:gd name="connsiteY13" fmla="*/ 0 h 43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8004" h="43434">
                    <a:moveTo>
                      <a:pt x="0" y="0"/>
                    </a:moveTo>
                    <a:lnTo>
                      <a:pt x="8001" y="0"/>
                    </a:lnTo>
                    <a:lnTo>
                      <a:pt x="8001" y="18002"/>
                    </a:lnTo>
                    <a:lnTo>
                      <a:pt x="29908" y="18002"/>
                    </a:lnTo>
                    <a:lnTo>
                      <a:pt x="29908" y="0"/>
                    </a:lnTo>
                    <a:lnTo>
                      <a:pt x="38005" y="0"/>
                    </a:lnTo>
                    <a:lnTo>
                      <a:pt x="38005" y="43434"/>
                    </a:lnTo>
                    <a:lnTo>
                      <a:pt x="29908" y="43434"/>
                    </a:lnTo>
                    <a:lnTo>
                      <a:pt x="29908" y="25146"/>
                    </a:lnTo>
                    <a:lnTo>
                      <a:pt x="8001" y="25146"/>
                    </a:lnTo>
                    <a:lnTo>
                      <a:pt x="8001" y="43434"/>
                    </a:lnTo>
                    <a:lnTo>
                      <a:pt x="0" y="4343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Freihandform: Form 407">
                <a:extLst>
                  <a:ext uri="{FF2B5EF4-FFF2-40B4-BE49-F238E27FC236}">
                    <a16:creationId xmlns:a16="http://schemas.microsoft.com/office/drawing/2014/main" id="{8844E764-4E76-2672-491A-2FAC64BA7246}"/>
                  </a:ext>
                </a:extLst>
              </p:cNvPr>
              <p:cNvSpPr/>
              <p:nvPr/>
            </p:nvSpPr>
            <p:spPr>
              <a:xfrm>
                <a:off x="3745984" y="6625555"/>
                <a:ext cx="8001" cy="43434"/>
              </a:xfrm>
              <a:custGeom>
                <a:avLst/>
                <a:gdLst>
                  <a:gd name="connsiteX0" fmla="*/ 0 w 8001"/>
                  <a:gd name="connsiteY0" fmla="*/ 0 h 43434"/>
                  <a:gd name="connsiteX1" fmla="*/ 8001 w 8001"/>
                  <a:gd name="connsiteY1" fmla="*/ 0 h 43434"/>
                  <a:gd name="connsiteX2" fmla="*/ 8001 w 8001"/>
                  <a:gd name="connsiteY2" fmla="*/ 43434 h 43434"/>
                  <a:gd name="connsiteX3" fmla="*/ 0 w 8001"/>
                  <a:gd name="connsiteY3" fmla="*/ 43434 h 43434"/>
                  <a:gd name="connsiteX4" fmla="*/ 0 w 8001"/>
                  <a:gd name="connsiteY4" fmla="*/ 0 h 43434"/>
                  <a:gd name="connsiteX5" fmla="*/ 0 w 8001"/>
                  <a:gd name="connsiteY5" fmla="*/ 0 h 43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001" h="43434">
                    <a:moveTo>
                      <a:pt x="0" y="0"/>
                    </a:moveTo>
                    <a:lnTo>
                      <a:pt x="8001" y="0"/>
                    </a:lnTo>
                    <a:lnTo>
                      <a:pt x="8001" y="43434"/>
                    </a:lnTo>
                    <a:lnTo>
                      <a:pt x="0" y="4343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Freihandform: Form 408">
                <a:extLst>
                  <a:ext uri="{FF2B5EF4-FFF2-40B4-BE49-F238E27FC236}">
                    <a16:creationId xmlns:a16="http://schemas.microsoft.com/office/drawing/2014/main" id="{C4AE93EC-3912-30A5-4039-E2FBEDC7952F}"/>
                  </a:ext>
                </a:extLst>
              </p:cNvPr>
              <p:cNvSpPr/>
              <p:nvPr/>
            </p:nvSpPr>
            <p:spPr>
              <a:xfrm>
                <a:off x="3766844" y="6625460"/>
                <a:ext cx="41529" cy="43433"/>
              </a:xfrm>
              <a:custGeom>
                <a:avLst/>
                <a:gdLst>
                  <a:gd name="connsiteX0" fmla="*/ 8096 w 41529"/>
                  <a:gd name="connsiteY0" fmla="*/ 7048 h 43433"/>
                  <a:gd name="connsiteX1" fmla="*/ 8096 w 41529"/>
                  <a:gd name="connsiteY1" fmla="*/ 36576 h 43433"/>
                  <a:gd name="connsiteX2" fmla="*/ 17145 w 41529"/>
                  <a:gd name="connsiteY2" fmla="*/ 36576 h 43433"/>
                  <a:gd name="connsiteX3" fmla="*/ 33052 w 41529"/>
                  <a:gd name="connsiteY3" fmla="*/ 21907 h 43433"/>
                  <a:gd name="connsiteX4" fmla="*/ 33052 w 41529"/>
                  <a:gd name="connsiteY4" fmla="*/ 21907 h 43433"/>
                  <a:gd name="connsiteX5" fmla="*/ 17145 w 41529"/>
                  <a:gd name="connsiteY5" fmla="*/ 7048 h 43433"/>
                  <a:gd name="connsiteX6" fmla="*/ 8096 w 41529"/>
                  <a:gd name="connsiteY6" fmla="*/ 7048 h 43433"/>
                  <a:gd name="connsiteX7" fmla="*/ 0 w 41529"/>
                  <a:gd name="connsiteY7" fmla="*/ 95 h 43433"/>
                  <a:gd name="connsiteX8" fmla="*/ 17145 w 41529"/>
                  <a:gd name="connsiteY8" fmla="*/ 95 h 43433"/>
                  <a:gd name="connsiteX9" fmla="*/ 41529 w 41529"/>
                  <a:gd name="connsiteY9" fmla="*/ 21622 h 43433"/>
                  <a:gd name="connsiteX10" fmla="*/ 41529 w 41529"/>
                  <a:gd name="connsiteY10" fmla="*/ 21622 h 43433"/>
                  <a:gd name="connsiteX11" fmla="*/ 17145 w 41529"/>
                  <a:gd name="connsiteY11" fmla="*/ 43434 h 43433"/>
                  <a:gd name="connsiteX12" fmla="*/ 0 w 41529"/>
                  <a:gd name="connsiteY12" fmla="*/ 43434 h 43433"/>
                  <a:gd name="connsiteX13" fmla="*/ 0 w 41529"/>
                  <a:gd name="connsiteY13" fmla="*/ 0 h 43433"/>
                  <a:gd name="connsiteX14" fmla="*/ 0 w 41529"/>
                  <a:gd name="connsiteY14" fmla="*/ 0 h 43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1529" h="43433">
                    <a:moveTo>
                      <a:pt x="8096" y="7048"/>
                    </a:moveTo>
                    <a:lnTo>
                      <a:pt x="8096" y="36576"/>
                    </a:lnTo>
                    <a:lnTo>
                      <a:pt x="17145" y="36576"/>
                    </a:lnTo>
                    <a:cubicBezTo>
                      <a:pt x="26765" y="36576"/>
                      <a:pt x="33052" y="30480"/>
                      <a:pt x="33052" y="21907"/>
                    </a:cubicBezTo>
                    <a:lnTo>
                      <a:pt x="33052" y="21907"/>
                    </a:lnTo>
                    <a:cubicBezTo>
                      <a:pt x="33052" y="13240"/>
                      <a:pt x="26765" y="7048"/>
                      <a:pt x="17145" y="7048"/>
                    </a:cubicBezTo>
                    <a:lnTo>
                      <a:pt x="8096" y="7048"/>
                    </a:lnTo>
                    <a:close/>
                    <a:moveTo>
                      <a:pt x="0" y="95"/>
                    </a:moveTo>
                    <a:lnTo>
                      <a:pt x="17145" y="95"/>
                    </a:lnTo>
                    <a:cubicBezTo>
                      <a:pt x="31528" y="95"/>
                      <a:pt x="41529" y="9430"/>
                      <a:pt x="41529" y="21622"/>
                    </a:cubicBezTo>
                    <a:lnTo>
                      <a:pt x="41529" y="21622"/>
                    </a:lnTo>
                    <a:cubicBezTo>
                      <a:pt x="41529" y="34004"/>
                      <a:pt x="31528" y="43434"/>
                      <a:pt x="17145" y="43434"/>
                    </a:cubicBezTo>
                    <a:lnTo>
                      <a:pt x="0" y="4343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Freihandform: Form 409">
                <a:extLst>
                  <a:ext uri="{FF2B5EF4-FFF2-40B4-BE49-F238E27FC236}">
                    <a16:creationId xmlns:a16="http://schemas.microsoft.com/office/drawing/2014/main" id="{FD659972-BFAB-AE47-1BBE-0F370E9E97A1}"/>
                  </a:ext>
                </a:extLst>
              </p:cNvPr>
              <p:cNvSpPr/>
              <p:nvPr/>
            </p:nvSpPr>
            <p:spPr>
              <a:xfrm>
                <a:off x="3815612" y="6625555"/>
                <a:ext cx="39052" cy="43434"/>
              </a:xfrm>
              <a:custGeom>
                <a:avLst/>
                <a:gdLst>
                  <a:gd name="connsiteX0" fmla="*/ 19812 w 39052"/>
                  <a:gd name="connsiteY0" fmla="*/ 21527 h 43434"/>
                  <a:gd name="connsiteX1" fmla="*/ 29242 w 39052"/>
                  <a:gd name="connsiteY1" fmla="*/ 14288 h 43434"/>
                  <a:gd name="connsiteX2" fmla="*/ 29242 w 39052"/>
                  <a:gd name="connsiteY2" fmla="*/ 14288 h 43434"/>
                  <a:gd name="connsiteX3" fmla="*/ 19717 w 39052"/>
                  <a:gd name="connsiteY3" fmla="*/ 6953 h 43434"/>
                  <a:gd name="connsiteX4" fmla="*/ 8001 w 39052"/>
                  <a:gd name="connsiteY4" fmla="*/ 6953 h 43434"/>
                  <a:gd name="connsiteX5" fmla="*/ 8001 w 39052"/>
                  <a:gd name="connsiteY5" fmla="*/ 21527 h 43434"/>
                  <a:gd name="connsiteX6" fmla="*/ 19812 w 39052"/>
                  <a:gd name="connsiteY6" fmla="*/ 21527 h 43434"/>
                  <a:gd name="connsiteX7" fmla="*/ 0 w 39052"/>
                  <a:gd name="connsiteY7" fmla="*/ 0 h 43434"/>
                  <a:gd name="connsiteX8" fmla="*/ 20479 w 39052"/>
                  <a:gd name="connsiteY8" fmla="*/ 0 h 43434"/>
                  <a:gd name="connsiteX9" fmla="*/ 33719 w 39052"/>
                  <a:gd name="connsiteY9" fmla="*/ 4381 h 43434"/>
                  <a:gd name="connsiteX10" fmla="*/ 37529 w 39052"/>
                  <a:gd name="connsiteY10" fmla="*/ 13716 h 43434"/>
                  <a:gd name="connsiteX11" fmla="*/ 37529 w 39052"/>
                  <a:gd name="connsiteY11" fmla="*/ 13716 h 43434"/>
                  <a:gd name="connsiteX12" fmla="*/ 26670 w 39052"/>
                  <a:gd name="connsiteY12" fmla="*/ 26956 h 43434"/>
                  <a:gd name="connsiteX13" fmla="*/ 39053 w 39052"/>
                  <a:gd name="connsiteY13" fmla="*/ 43434 h 43434"/>
                  <a:gd name="connsiteX14" fmla="*/ 29433 w 39052"/>
                  <a:gd name="connsiteY14" fmla="*/ 43434 h 43434"/>
                  <a:gd name="connsiteX15" fmla="*/ 18193 w 39052"/>
                  <a:gd name="connsiteY15" fmla="*/ 28289 h 43434"/>
                  <a:gd name="connsiteX16" fmla="*/ 8096 w 39052"/>
                  <a:gd name="connsiteY16" fmla="*/ 28289 h 43434"/>
                  <a:gd name="connsiteX17" fmla="*/ 8096 w 39052"/>
                  <a:gd name="connsiteY17" fmla="*/ 43434 h 43434"/>
                  <a:gd name="connsiteX18" fmla="*/ 0 w 39052"/>
                  <a:gd name="connsiteY18" fmla="*/ 43434 h 43434"/>
                  <a:gd name="connsiteX19" fmla="*/ 0 w 39052"/>
                  <a:gd name="connsiteY19" fmla="*/ 0 h 43434"/>
                  <a:gd name="connsiteX20" fmla="*/ 0 w 39052"/>
                  <a:gd name="connsiteY20" fmla="*/ 0 h 43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9052" h="43434">
                    <a:moveTo>
                      <a:pt x="19812" y="21527"/>
                    </a:moveTo>
                    <a:cubicBezTo>
                      <a:pt x="25622" y="21527"/>
                      <a:pt x="29242" y="18669"/>
                      <a:pt x="29242" y="14288"/>
                    </a:cubicBezTo>
                    <a:lnTo>
                      <a:pt x="29242" y="14288"/>
                    </a:lnTo>
                    <a:cubicBezTo>
                      <a:pt x="29242" y="9525"/>
                      <a:pt x="25718" y="6953"/>
                      <a:pt x="19717" y="6953"/>
                    </a:cubicBezTo>
                    <a:lnTo>
                      <a:pt x="8001" y="6953"/>
                    </a:lnTo>
                    <a:lnTo>
                      <a:pt x="8001" y="21527"/>
                    </a:lnTo>
                    <a:lnTo>
                      <a:pt x="19812" y="21527"/>
                    </a:lnTo>
                    <a:close/>
                    <a:moveTo>
                      <a:pt x="0" y="0"/>
                    </a:moveTo>
                    <a:lnTo>
                      <a:pt x="20479" y="0"/>
                    </a:lnTo>
                    <a:cubicBezTo>
                      <a:pt x="26289" y="0"/>
                      <a:pt x="30766" y="1619"/>
                      <a:pt x="33719" y="4381"/>
                    </a:cubicBezTo>
                    <a:cubicBezTo>
                      <a:pt x="36100" y="6763"/>
                      <a:pt x="37529" y="10001"/>
                      <a:pt x="37529" y="13716"/>
                    </a:cubicBezTo>
                    <a:lnTo>
                      <a:pt x="37529" y="13716"/>
                    </a:lnTo>
                    <a:cubicBezTo>
                      <a:pt x="37529" y="20955"/>
                      <a:pt x="32957" y="25241"/>
                      <a:pt x="26670" y="26956"/>
                    </a:cubicBezTo>
                    <a:lnTo>
                      <a:pt x="39053" y="43434"/>
                    </a:lnTo>
                    <a:lnTo>
                      <a:pt x="29433" y="43434"/>
                    </a:lnTo>
                    <a:lnTo>
                      <a:pt x="18193" y="28289"/>
                    </a:lnTo>
                    <a:lnTo>
                      <a:pt x="8096" y="28289"/>
                    </a:lnTo>
                    <a:lnTo>
                      <a:pt x="8096" y="43434"/>
                    </a:lnTo>
                    <a:lnTo>
                      <a:pt x="0" y="4343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Freihandform: Form 410">
                <a:extLst>
                  <a:ext uri="{FF2B5EF4-FFF2-40B4-BE49-F238E27FC236}">
                    <a16:creationId xmlns:a16="http://schemas.microsoft.com/office/drawing/2014/main" id="{C1B34F4E-C111-5F33-656C-601F86B94F4E}"/>
                  </a:ext>
                </a:extLst>
              </p:cNvPr>
              <p:cNvSpPr/>
              <p:nvPr/>
            </p:nvSpPr>
            <p:spPr>
              <a:xfrm>
                <a:off x="3859998" y="6624889"/>
                <a:ext cx="48006" cy="44862"/>
              </a:xfrm>
              <a:custGeom>
                <a:avLst/>
                <a:gdLst>
                  <a:gd name="connsiteX0" fmla="*/ 39529 w 48006"/>
                  <a:gd name="connsiteY0" fmla="*/ 22479 h 44862"/>
                  <a:gd name="connsiteX1" fmla="*/ 39529 w 48006"/>
                  <a:gd name="connsiteY1" fmla="*/ 22479 h 44862"/>
                  <a:gd name="connsiteX2" fmla="*/ 23908 w 48006"/>
                  <a:gd name="connsiteY2" fmla="*/ 6953 h 44862"/>
                  <a:gd name="connsiteX3" fmla="*/ 8477 w 48006"/>
                  <a:gd name="connsiteY3" fmla="*/ 22289 h 44862"/>
                  <a:gd name="connsiteX4" fmla="*/ 8477 w 48006"/>
                  <a:gd name="connsiteY4" fmla="*/ 22289 h 44862"/>
                  <a:gd name="connsiteX5" fmla="*/ 24098 w 48006"/>
                  <a:gd name="connsiteY5" fmla="*/ 37814 h 44862"/>
                  <a:gd name="connsiteX6" fmla="*/ 39529 w 48006"/>
                  <a:gd name="connsiteY6" fmla="*/ 22574 h 44862"/>
                  <a:gd name="connsiteX7" fmla="*/ 0 w 48006"/>
                  <a:gd name="connsiteY7" fmla="*/ 22574 h 44862"/>
                  <a:gd name="connsiteX8" fmla="*/ 0 w 48006"/>
                  <a:gd name="connsiteY8" fmla="*/ 22574 h 44862"/>
                  <a:gd name="connsiteX9" fmla="*/ 24098 w 48006"/>
                  <a:gd name="connsiteY9" fmla="*/ 0 h 44862"/>
                  <a:gd name="connsiteX10" fmla="*/ 48006 w 48006"/>
                  <a:gd name="connsiteY10" fmla="*/ 22289 h 44862"/>
                  <a:gd name="connsiteX11" fmla="*/ 48006 w 48006"/>
                  <a:gd name="connsiteY11" fmla="*/ 22289 h 44862"/>
                  <a:gd name="connsiteX12" fmla="*/ 23908 w 48006"/>
                  <a:gd name="connsiteY12" fmla="*/ 44863 h 44862"/>
                  <a:gd name="connsiteX13" fmla="*/ 0 w 48006"/>
                  <a:gd name="connsiteY13" fmla="*/ 22574 h 44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8006" h="44862">
                    <a:moveTo>
                      <a:pt x="39529" y="22479"/>
                    </a:moveTo>
                    <a:lnTo>
                      <a:pt x="39529" y="22479"/>
                    </a:lnTo>
                    <a:cubicBezTo>
                      <a:pt x="39529" y="13906"/>
                      <a:pt x="33052" y="6953"/>
                      <a:pt x="23908" y="6953"/>
                    </a:cubicBezTo>
                    <a:cubicBezTo>
                      <a:pt x="14764" y="6953"/>
                      <a:pt x="8477" y="13811"/>
                      <a:pt x="8477" y="22289"/>
                    </a:cubicBezTo>
                    <a:lnTo>
                      <a:pt x="8477" y="22289"/>
                    </a:lnTo>
                    <a:cubicBezTo>
                      <a:pt x="8477" y="30861"/>
                      <a:pt x="14954" y="37814"/>
                      <a:pt x="24098" y="37814"/>
                    </a:cubicBezTo>
                    <a:cubicBezTo>
                      <a:pt x="33242" y="37814"/>
                      <a:pt x="39529" y="30956"/>
                      <a:pt x="39529" y="22574"/>
                    </a:cubicBezTo>
                    <a:moveTo>
                      <a:pt x="0" y="22574"/>
                    </a:moveTo>
                    <a:lnTo>
                      <a:pt x="0" y="22574"/>
                    </a:lnTo>
                    <a:cubicBezTo>
                      <a:pt x="0" y="10192"/>
                      <a:pt x="10001" y="0"/>
                      <a:pt x="24098" y="0"/>
                    </a:cubicBezTo>
                    <a:cubicBezTo>
                      <a:pt x="38195" y="0"/>
                      <a:pt x="48006" y="10097"/>
                      <a:pt x="48006" y="22289"/>
                    </a:cubicBezTo>
                    <a:lnTo>
                      <a:pt x="48006" y="22289"/>
                    </a:lnTo>
                    <a:cubicBezTo>
                      <a:pt x="48006" y="34671"/>
                      <a:pt x="38005" y="44863"/>
                      <a:pt x="23908" y="44863"/>
                    </a:cubicBezTo>
                    <a:cubicBezTo>
                      <a:pt x="9811" y="44863"/>
                      <a:pt x="0" y="34766"/>
                      <a:pt x="0" y="22574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6" name="Freihandform: Form 411">
                <a:extLst>
                  <a:ext uri="{FF2B5EF4-FFF2-40B4-BE49-F238E27FC236}">
                    <a16:creationId xmlns:a16="http://schemas.microsoft.com/office/drawing/2014/main" id="{79B752B6-7BC9-F471-77D0-02E24382D269}"/>
                  </a:ext>
                </a:extLst>
              </p:cNvPr>
              <p:cNvSpPr/>
              <p:nvPr/>
            </p:nvSpPr>
            <p:spPr>
              <a:xfrm>
                <a:off x="3845330" y="6803959"/>
                <a:ext cx="61531" cy="61150"/>
              </a:xfrm>
              <a:custGeom>
                <a:avLst/>
                <a:gdLst>
                  <a:gd name="connsiteX0" fmla="*/ 0 w 61531"/>
                  <a:gd name="connsiteY0" fmla="*/ 30575 h 61150"/>
                  <a:gd name="connsiteX1" fmla="*/ 30766 w 61531"/>
                  <a:gd name="connsiteY1" fmla="*/ 0 h 61150"/>
                  <a:gd name="connsiteX2" fmla="*/ 61531 w 61531"/>
                  <a:gd name="connsiteY2" fmla="*/ 30575 h 61150"/>
                  <a:gd name="connsiteX3" fmla="*/ 30766 w 61531"/>
                  <a:gd name="connsiteY3" fmla="*/ 61150 h 61150"/>
                  <a:gd name="connsiteX4" fmla="*/ 0 w 61531"/>
                  <a:gd name="connsiteY4" fmla="*/ 30575 h 61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531" h="61150">
                    <a:moveTo>
                      <a:pt x="0" y="30575"/>
                    </a:moveTo>
                    <a:cubicBezTo>
                      <a:pt x="0" y="13716"/>
                      <a:pt x="13811" y="0"/>
                      <a:pt x="30766" y="0"/>
                    </a:cubicBezTo>
                    <a:cubicBezTo>
                      <a:pt x="47720" y="0"/>
                      <a:pt x="61531" y="13716"/>
                      <a:pt x="61531" y="30575"/>
                    </a:cubicBezTo>
                    <a:cubicBezTo>
                      <a:pt x="61531" y="47434"/>
                      <a:pt x="47720" y="61150"/>
                      <a:pt x="30766" y="61150"/>
                    </a:cubicBezTo>
                    <a:cubicBezTo>
                      <a:pt x="13811" y="61150"/>
                      <a:pt x="0" y="47434"/>
                      <a:pt x="0" y="30575"/>
                    </a:cubicBezTo>
                  </a:path>
                </a:pathLst>
              </a:custGeom>
              <a:solidFill>
                <a:srgbClr val="BB173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" name="Freihandform: Form 412">
                <a:extLst>
                  <a:ext uri="{FF2B5EF4-FFF2-40B4-BE49-F238E27FC236}">
                    <a16:creationId xmlns:a16="http://schemas.microsoft.com/office/drawing/2014/main" id="{C50C3342-21FA-6365-7F4C-12896492EDF2}"/>
                  </a:ext>
                </a:extLst>
              </p:cNvPr>
              <p:cNvSpPr/>
              <p:nvPr/>
            </p:nvSpPr>
            <p:spPr>
              <a:xfrm>
                <a:off x="3849330" y="6828438"/>
                <a:ext cx="53625" cy="13906"/>
              </a:xfrm>
              <a:custGeom>
                <a:avLst/>
                <a:gdLst>
                  <a:gd name="connsiteX0" fmla="*/ 0 w 53625"/>
                  <a:gd name="connsiteY0" fmla="*/ 6953 h 13906"/>
                  <a:gd name="connsiteX1" fmla="*/ 7715 w 53625"/>
                  <a:gd name="connsiteY1" fmla="*/ 0 h 13906"/>
                  <a:gd name="connsiteX2" fmla="*/ 45911 w 53625"/>
                  <a:gd name="connsiteY2" fmla="*/ 0 h 13906"/>
                  <a:gd name="connsiteX3" fmla="*/ 53626 w 53625"/>
                  <a:gd name="connsiteY3" fmla="*/ 6953 h 13906"/>
                  <a:gd name="connsiteX4" fmla="*/ 45911 w 53625"/>
                  <a:gd name="connsiteY4" fmla="*/ 13906 h 13906"/>
                  <a:gd name="connsiteX5" fmla="*/ 7715 w 53625"/>
                  <a:gd name="connsiteY5" fmla="*/ 13906 h 13906"/>
                  <a:gd name="connsiteX6" fmla="*/ 0 w 53625"/>
                  <a:gd name="connsiteY6" fmla="*/ 6953 h 13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625" h="13906">
                    <a:moveTo>
                      <a:pt x="0" y="6953"/>
                    </a:moveTo>
                    <a:cubicBezTo>
                      <a:pt x="0" y="3143"/>
                      <a:pt x="3429" y="0"/>
                      <a:pt x="7715" y="0"/>
                    </a:cubicBezTo>
                    <a:lnTo>
                      <a:pt x="45911" y="0"/>
                    </a:lnTo>
                    <a:cubicBezTo>
                      <a:pt x="50197" y="0"/>
                      <a:pt x="53626" y="3143"/>
                      <a:pt x="53626" y="6953"/>
                    </a:cubicBezTo>
                    <a:cubicBezTo>
                      <a:pt x="53626" y="10763"/>
                      <a:pt x="50197" y="13906"/>
                      <a:pt x="45911" y="13906"/>
                    </a:cubicBezTo>
                    <a:lnTo>
                      <a:pt x="7715" y="13906"/>
                    </a:lnTo>
                    <a:cubicBezTo>
                      <a:pt x="3429" y="13906"/>
                      <a:pt x="0" y="10763"/>
                      <a:pt x="0" y="6953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" name="Freihandform: Form 413">
                <a:extLst>
                  <a:ext uri="{FF2B5EF4-FFF2-40B4-BE49-F238E27FC236}">
                    <a16:creationId xmlns:a16="http://schemas.microsoft.com/office/drawing/2014/main" id="{F55FEF7D-039B-04D2-4068-BDC8513B3DAA}"/>
                  </a:ext>
                </a:extLst>
              </p:cNvPr>
              <p:cNvSpPr/>
              <p:nvPr/>
            </p:nvSpPr>
            <p:spPr>
              <a:xfrm>
                <a:off x="3869143" y="6845011"/>
                <a:ext cx="14001" cy="16383"/>
              </a:xfrm>
              <a:custGeom>
                <a:avLst/>
                <a:gdLst>
                  <a:gd name="connsiteX0" fmla="*/ 14002 w 14001"/>
                  <a:gd name="connsiteY0" fmla="*/ 0 h 16383"/>
                  <a:gd name="connsiteX1" fmla="*/ 14002 w 14001"/>
                  <a:gd name="connsiteY1" fmla="*/ 8763 h 16383"/>
                  <a:gd name="connsiteX2" fmla="*/ 6953 w 14001"/>
                  <a:gd name="connsiteY2" fmla="*/ 16383 h 16383"/>
                  <a:gd name="connsiteX3" fmla="*/ 0 w 14001"/>
                  <a:gd name="connsiteY3" fmla="*/ 8763 h 16383"/>
                  <a:gd name="connsiteX4" fmla="*/ 0 w 14001"/>
                  <a:gd name="connsiteY4" fmla="*/ 0 h 16383"/>
                  <a:gd name="connsiteX5" fmla="*/ 14002 w 14001"/>
                  <a:gd name="connsiteY5" fmla="*/ 0 h 16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001" h="16383">
                    <a:moveTo>
                      <a:pt x="14002" y="0"/>
                    </a:moveTo>
                    <a:lnTo>
                      <a:pt x="14002" y="8763"/>
                    </a:lnTo>
                    <a:cubicBezTo>
                      <a:pt x="14002" y="12954"/>
                      <a:pt x="10858" y="16383"/>
                      <a:pt x="6953" y="16383"/>
                    </a:cubicBezTo>
                    <a:cubicBezTo>
                      <a:pt x="3048" y="16383"/>
                      <a:pt x="0" y="12954"/>
                      <a:pt x="0" y="8763"/>
                    </a:cubicBezTo>
                    <a:lnTo>
                      <a:pt x="0" y="0"/>
                    </a:lnTo>
                    <a:lnTo>
                      <a:pt x="1400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9" name="Freihandform: Form 414">
                <a:extLst>
                  <a:ext uri="{FF2B5EF4-FFF2-40B4-BE49-F238E27FC236}">
                    <a16:creationId xmlns:a16="http://schemas.microsoft.com/office/drawing/2014/main" id="{8DA0E5AD-8222-3B9D-3A2E-F0FEA593A3E4}"/>
                  </a:ext>
                </a:extLst>
              </p:cNvPr>
              <p:cNvSpPr/>
              <p:nvPr/>
            </p:nvSpPr>
            <p:spPr>
              <a:xfrm>
                <a:off x="3867999" y="6810245"/>
                <a:ext cx="16192" cy="16097"/>
              </a:xfrm>
              <a:custGeom>
                <a:avLst/>
                <a:gdLst>
                  <a:gd name="connsiteX0" fmla="*/ 0 w 16192"/>
                  <a:gd name="connsiteY0" fmla="*/ 8001 h 16097"/>
                  <a:gd name="connsiteX1" fmla="*/ 8096 w 16192"/>
                  <a:gd name="connsiteY1" fmla="*/ 0 h 16097"/>
                  <a:gd name="connsiteX2" fmla="*/ 16193 w 16192"/>
                  <a:gd name="connsiteY2" fmla="*/ 8001 h 16097"/>
                  <a:gd name="connsiteX3" fmla="*/ 8096 w 16192"/>
                  <a:gd name="connsiteY3" fmla="*/ 16097 h 16097"/>
                  <a:gd name="connsiteX4" fmla="*/ 0 w 16192"/>
                  <a:gd name="connsiteY4" fmla="*/ 8001 h 16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92" h="16097">
                    <a:moveTo>
                      <a:pt x="0" y="8001"/>
                    </a:moveTo>
                    <a:cubicBezTo>
                      <a:pt x="0" y="3620"/>
                      <a:pt x="3620" y="0"/>
                      <a:pt x="8096" y="0"/>
                    </a:cubicBezTo>
                    <a:cubicBezTo>
                      <a:pt x="12573" y="0"/>
                      <a:pt x="16193" y="3620"/>
                      <a:pt x="16193" y="8001"/>
                    </a:cubicBezTo>
                    <a:cubicBezTo>
                      <a:pt x="16193" y="12383"/>
                      <a:pt x="12573" y="16097"/>
                      <a:pt x="8096" y="16097"/>
                    </a:cubicBezTo>
                    <a:cubicBezTo>
                      <a:pt x="3620" y="16097"/>
                      <a:pt x="0" y="12478"/>
                      <a:pt x="0" y="8001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0" name="Freihandform: Form 415">
                <a:extLst>
                  <a:ext uri="{FF2B5EF4-FFF2-40B4-BE49-F238E27FC236}">
                    <a16:creationId xmlns:a16="http://schemas.microsoft.com/office/drawing/2014/main" id="{8CD01447-18F7-D675-EC83-D401351C4219}"/>
                  </a:ext>
                </a:extLst>
              </p:cNvPr>
              <p:cNvSpPr/>
              <p:nvPr/>
            </p:nvSpPr>
            <p:spPr>
              <a:xfrm>
                <a:off x="3830922" y="6828135"/>
                <a:ext cx="10788" cy="7541"/>
              </a:xfrm>
              <a:custGeom>
                <a:avLst/>
                <a:gdLst>
                  <a:gd name="connsiteX0" fmla="*/ 977 w 10788"/>
                  <a:gd name="connsiteY0" fmla="*/ 4017 h 7541"/>
                  <a:gd name="connsiteX1" fmla="*/ 1072 w 10788"/>
                  <a:gd name="connsiteY1" fmla="*/ 5446 h 7541"/>
                  <a:gd name="connsiteX2" fmla="*/ 9454 w 10788"/>
                  <a:gd name="connsiteY2" fmla="*/ 6018 h 7541"/>
                  <a:gd name="connsiteX3" fmla="*/ 9740 w 10788"/>
                  <a:gd name="connsiteY3" fmla="*/ 4684 h 7541"/>
                  <a:gd name="connsiteX4" fmla="*/ 5549 w 10788"/>
                  <a:gd name="connsiteY4" fmla="*/ 1446 h 7541"/>
                  <a:gd name="connsiteX5" fmla="*/ 977 w 10788"/>
                  <a:gd name="connsiteY5" fmla="*/ 4113 h 7541"/>
                  <a:gd name="connsiteX6" fmla="*/ 977 w 10788"/>
                  <a:gd name="connsiteY6" fmla="*/ 4113 h 7541"/>
                  <a:gd name="connsiteX7" fmla="*/ 10788 w 10788"/>
                  <a:gd name="connsiteY7" fmla="*/ 4779 h 7541"/>
                  <a:gd name="connsiteX8" fmla="*/ 10026 w 10788"/>
                  <a:gd name="connsiteY8" fmla="*/ 7542 h 7541"/>
                  <a:gd name="connsiteX9" fmla="*/ 406 w 10788"/>
                  <a:gd name="connsiteY9" fmla="*/ 6875 h 7541"/>
                  <a:gd name="connsiteX10" fmla="*/ 25 w 10788"/>
                  <a:gd name="connsiteY10" fmla="*/ 4113 h 7541"/>
                  <a:gd name="connsiteX11" fmla="*/ 5645 w 10788"/>
                  <a:gd name="connsiteY11" fmla="*/ 17 h 7541"/>
                  <a:gd name="connsiteX12" fmla="*/ 10693 w 10788"/>
                  <a:gd name="connsiteY12" fmla="*/ 4875 h 7541"/>
                  <a:gd name="connsiteX13" fmla="*/ 10693 w 10788"/>
                  <a:gd name="connsiteY13" fmla="*/ 4875 h 7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788" h="7541">
                    <a:moveTo>
                      <a:pt x="977" y="4017"/>
                    </a:moveTo>
                    <a:cubicBezTo>
                      <a:pt x="977" y="4494"/>
                      <a:pt x="977" y="5065"/>
                      <a:pt x="1072" y="5446"/>
                    </a:cubicBezTo>
                    <a:lnTo>
                      <a:pt x="9454" y="6018"/>
                    </a:lnTo>
                    <a:cubicBezTo>
                      <a:pt x="9454" y="6018"/>
                      <a:pt x="9740" y="5160"/>
                      <a:pt x="9740" y="4684"/>
                    </a:cubicBezTo>
                    <a:cubicBezTo>
                      <a:pt x="9836" y="2684"/>
                      <a:pt x="8407" y="1636"/>
                      <a:pt x="5549" y="1446"/>
                    </a:cubicBezTo>
                    <a:cubicBezTo>
                      <a:pt x="2692" y="1255"/>
                      <a:pt x="1072" y="2112"/>
                      <a:pt x="977" y="4113"/>
                    </a:cubicBezTo>
                    <a:lnTo>
                      <a:pt x="977" y="4113"/>
                    </a:lnTo>
                    <a:close/>
                    <a:moveTo>
                      <a:pt x="10788" y="4779"/>
                    </a:moveTo>
                    <a:cubicBezTo>
                      <a:pt x="10788" y="5732"/>
                      <a:pt x="10502" y="6780"/>
                      <a:pt x="10026" y="7542"/>
                    </a:cubicBezTo>
                    <a:lnTo>
                      <a:pt x="406" y="6875"/>
                    </a:lnTo>
                    <a:cubicBezTo>
                      <a:pt x="120" y="6018"/>
                      <a:pt x="-71" y="5065"/>
                      <a:pt x="25" y="4113"/>
                    </a:cubicBezTo>
                    <a:cubicBezTo>
                      <a:pt x="215" y="1255"/>
                      <a:pt x="2311" y="-174"/>
                      <a:pt x="5645" y="17"/>
                    </a:cubicBezTo>
                    <a:cubicBezTo>
                      <a:pt x="8978" y="207"/>
                      <a:pt x="10883" y="2017"/>
                      <a:pt x="10693" y="4875"/>
                    </a:cubicBezTo>
                    <a:lnTo>
                      <a:pt x="10693" y="4875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Freihandform: Form 416">
                <a:extLst>
                  <a:ext uri="{FF2B5EF4-FFF2-40B4-BE49-F238E27FC236}">
                    <a16:creationId xmlns:a16="http://schemas.microsoft.com/office/drawing/2014/main" id="{5344E103-A269-A383-92B6-34C9D33D3545}"/>
                  </a:ext>
                </a:extLst>
              </p:cNvPr>
              <p:cNvSpPr/>
              <p:nvPr/>
            </p:nvSpPr>
            <p:spPr>
              <a:xfrm>
                <a:off x="3832376" y="6818342"/>
                <a:ext cx="11430" cy="7905"/>
              </a:xfrm>
              <a:custGeom>
                <a:avLst/>
                <a:gdLst>
                  <a:gd name="connsiteX0" fmla="*/ 10001 w 11430"/>
                  <a:gd name="connsiteY0" fmla="*/ 7906 h 7905"/>
                  <a:gd name="connsiteX1" fmla="*/ 0 w 11430"/>
                  <a:gd name="connsiteY1" fmla="*/ 4763 h 7905"/>
                  <a:gd name="connsiteX2" fmla="*/ 1524 w 11430"/>
                  <a:gd name="connsiteY2" fmla="*/ 0 h 7905"/>
                  <a:gd name="connsiteX3" fmla="*/ 2381 w 11430"/>
                  <a:gd name="connsiteY3" fmla="*/ 286 h 7905"/>
                  <a:gd name="connsiteX4" fmla="*/ 1334 w 11430"/>
                  <a:gd name="connsiteY4" fmla="*/ 3715 h 7905"/>
                  <a:gd name="connsiteX5" fmla="*/ 4858 w 11430"/>
                  <a:gd name="connsiteY5" fmla="*/ 4763 h 7905"/>
                  <a:gd name="connsiteX6" fmla="*/ 5810 w 11430"/>
                  <a:gd name="connsiteY6" fmla="*/ 1715 h 7905"/>
                  <a:gd name="connsiteX7" fmla="*/ 6668 w 11430"/>
                  <a:gd name="connsiteY7" fmla="*/ 2000 h 7905"/>
                  <a:gd name="connsiteX8" fmla="*/ 5715 w 11430"/>
                  <a:gd name="connsiteY8" fmla="*/ 5048 h 7905"/>
                  <a:gd name="connsiteX9" fmla="*/ 9525 w 11430"/>
                  <a:gd name="connsiteY9" fmla="*/ 6191 h 7905"/>
                  <a:gd name="connsiteX10" fmla="*/ 10573 w 11430"/>
                  <a:gd name="connsiteY10" fmla="*/ 2857 h 7905"/>
                  <a:gd name="connsiteX11" fmla="*/ 11430 w 11430"/>
                  <a:gd name="connsiteY11" fmla="*/ 3143 h 7905"/>
                  <a:gd name="connsiteX12" fmla="*/ 10001 w 11430"/>
                  <a:gd name="connsiteY12" fmla="*/ 7906 h 7905"/>
                  <a:gd name="connsiteX13" fmla="*/ 10001 w 11430"/>
                  <a:gd name="connsiteY13" fmla="*/ 7906 h 7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430" h="7905">
                    <a:moveTo>
                      <a:pt x="10001" y="7906"/>
                    </a:moveTo>
                    <a:lnTo>
                      <a:pt x="0" y="4763"/>
                    </a:lnTo>
                    <a:lnTo>
                      <a:pt x="1524" y="0"/>
                    </a:lnTo>
                    <a:lnTo>
                      <a:pt x="2381" y="286"/>
                    </a:lnTo>
                    <a:lnTo>
                      <a:pt x="1334" y="3715"/>
                    </a:lnTo>
                    <a:lnTo>
                      <a:pt x="4858" y="4763"/>
                    </a:lnTo>
                    <a:lnTo>
                      <a:pt x="5810" y="1715"/>
                    </a:lnTo>
                    <a:lnTo>
                      <a:pt x="6668" y="2000"/>
                    </a:lnTo>
                    <a:lnTo>
                      <a:pt x="5715" y="5048"/>
                    </a:lnTo>
                    <a:lnTo>
                      <a:pt x="9525" y="6191"/>
                    </a:lnTo>
                    <a:lnTo>
                      <a:pt x="10573" y="2857"/>
                    </a:lnTo>
                    <a:lnTo>
                      <a:pt x="11430" y="3143"/>
                    </a:lnTo>
                    <a:lnTo>
                      <a:pt x="10001" y="7906"/>
                    </a:lnTo>
                    <a:lnTo>
                      <a:pt x="10001" y="7906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2" name="Freihandform: Form 417">
                <a:extLst>
                  <a:ext uri="{FF2B5EF4-FFF2-40B4-BE49-F238E27FC236}">
                    <a16:creationId xmlns:a16="http://schemas.microsoft.com/office/drawing/2014/main" id="{CC68E472-417D-D7E5-6755-B687FBB310EE}"/>
                  </a:ext>
                </a:extLst>
              </p:cNvPr>
              <p:cNvSpPr/>
              <p:nvPr/>
            </p:nvSpPr>
            <p:spPr>
              <a:xfrm>
                <a:off x="3835710" y="6810042"/>
                <a:ext cx="12096" cy="9823"/>
              </a:xfrm>
              <a:custGeom>
                <a:avLst/>
                <a:gdLst>
                  <a:gd name="connsiteX0" fmla="*/ 1619 w 12096"/>
                  <a:gd name="connsiteY0" fmla="*/ 2584 h 9823"/>
                  <a:gd name="connsiteX1" fmla="*/ 1143 w 12096"/>
                  <a:gd name="connsiteY1" fmla="*/ 3822 h 9823"/>
                  <a:gd name="connsiteX2" fmla="*/ 4763 w 12096"/>
                  <a:gd name="connsiteY2" fmla="*/ 5918 h 9823"/>
                  <a:gd name="connsiteX3" fmla="*/ 5334 w 12096"/>
                  <a:gd name="connsiteY3" fmla="*/ 5156 h 9823"/>
                  <a:gd name="connsiteX4" fmla="*/ 4667 w 12096"/>
                  <a:gd name="connsiteY4" fmla="*/ 1727 h 9823"/>
                  <a:gd name="connsiteX5" fmla="*/ 1619 w 12096"/>
                  <a:gd name="connsiteY5" fmla="*/ 2679 h 9823"/>
                  <a:gd name="connsiteX6" fmla="*/ 1619 w 12096"/>
                  <a:gd name="connsiteY6" fmla="*/ 2679 h 9823"/>
                  <a:gd name="connsiteX7" fmla="*/ 11239 w 12096"/>
                  <a:gd name="connsiteY7" fmla="*/ 5346 h 9823"/>
                  <a:gd name="connsiteX8" fmla="*/ 7239 w 12096"/>
                  <a:gd name="connsiteY8" fmla="*/ 5346 h 9823"/>
                  <a:gd name="connsiteX9" fmla="*/ 5239 w 12096"/>
                  <a:gd name="connsiteY9" fmla="*/ 6204 h 9823"/>
                  <a:gd name="connsiteX10" fmla="*/ 9335 w 12096"/>
                  <a:gd name="connsiteY10" fmla="*/ 8585 h 9823"/>
                  <a:gd name="connsiteX11" fmla="*/ 8668 w 12096"/>
                  <a:gd name="connsiteY11" fmla="*/ 9823 h 9823"/>
                  <a:gd name="connsiteX12" fmla="*/ 0 w 12096"/>
                  <a:gd name="connsiteY12" fmla="*/ 4775 h 9823"/>
                  <a:gd name="connsiteX13" fmla="*/ 857 w 12096"/>
                  <a:gd name="connsiteY13" fmla="*/ 2203 h 9823"/>
                  <a:gd name="connsiteX14" fmla="*/ 5334 w 12096"/>
                  <a:gd name="connsiteY14" fmla="*/ 489 h 9823"/>
                  <a:gd name="connsiteX15" fmla="*/ 6287 w 12096"/>
                  <a:gd name="connsiteY15" fmla="*/ 4489 h 9823"/>
                  <a:gd name="connsiteX16" fmla="*/ 6287 w 12096"/>
                  <a:gd name="connsiteY16" fmla="*/ 4489 h 9823"/>
                  <a:gd name="connsiteX17" fmla="*/ 7906 w 12096"/>
                  <a:gd name="connsiteY17" fmla="*/ 4203 h 9823"/>
                  <a:gd name="connsiteX18" fmla="*/ 12097 w 12096"/>
                  <a:gd name="connsiteY18" fmla="*/ 4013 h 9823"/>
                  <a:gd name="connsiteX19" fmla="*/ 11239 w 12096"/>
                  <a:gd name="connsiteY19" fmla="*/ 5442 h 9823"/>
                  <a:gd name="connsiteX20" fmla="*/ 11239 w 12096"/>
                  <a:gd name="connsiteY20" fmla="*/ 5442 h 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096" h="9823">
                    <a:moveTo>
                      <a:pt x="1619" y="2584"/>
                    </a:moveTo>
                    <a:cubicBezTo>
                      <a:pt x="1619" y="2584"/>
                      <a:pt x="1238" y="3441"/>
                      <a:pt x="1143" y="3822"/>
                    </a:cubicBezTo>
                    <a:lnTo>
                      <a:pt x="4763" y="5918"/>
                    </a:lnTo>
                    <a:cubicBezTo>
                      <a:pt x="4763" y="5918"/>
                      <a:pt x="5144" y="5442"/>
                      <a:pt x="5334" y="5156"/>
                    </a:cubicBezTo>
                    <a:cubicBezTo>
                      <a:pt x="6096" y="3727"/>
                      <a:pt x="5810" y="2394"/>
                      <a:pt x="4667" y="1727"/>
                    </a:cubicBezTo>
                    <a:cubicBezTo>
                      <a:pt x="3429" y="965"/>
                      <a:pt x="2381" y="1346"/>
                      <a:pt x="1619" y="2679"/>
                    </a:cubicBezTo>
                    <a:lnTo>
                      <a:pt x="1619" y="2679"/>
                    </a:lnTo>
                    <a:close/>
                    <a:moveTo>
                      <a:pt x="11239" y="5346"/>
                    </a:moveTo>
                    <a:lnTo>
                      <a:pt x="7239" y="5346"/>
                    </a:lnTo>
                    <a:cubicBezTo>
                      <a:pt x="6477" y="5346"/>
                      <a:pt x="5715" y="5632"/>
                      <a:pt x="5239" y="6204"/>
                    </a:cubicBezTo>
                    <a:lnTo>
                      <a:pt x="9335" y="8585"/>
                    </a:lnTo>
                    <a:lnTo>
                      <a:pt x="8668" y="9823"/>
                    </a:lnTo>
                    <a:lnTo>
                      <a:pt x="0" y="4775"/>
                    </a:lnTo>
                    <a:cubicBezTo>
                      <a:pt x="0" y="4013"/>
                      <a:pt x="381" y="3060"/>
                      <a:pt x="857" y="2203"/>
                    </a:cubicBezTo>
                    <a:cubicBezTo>
                      <a:pt x="2000" y="108"/>
                      <a:pt x="3620" y="-559"/>
                      <a:pt x="5334" y="489"/>
                    </a:cubicBezTo>
                    <a:cubicBezTo>
                      <a:pt x="6668" y="1251"/>
                      <a:pt x="6953" y="2870"/>
                      <a:pt x="6287" y="4489"/>
                    </a:cubicBezTo>
                    <a:lnTo>
                      <a:pt x="6287" y="4489"/>
                    </a:lnTo>
                    <a:cubicBezTo>
                      <a:pt x="6763" y="4299"/>
                      <a:pt x="7334" y="4203"/>
                      <a:pt x="7906" y="4203"/>
                    </a:cubicBezTo>
                    <a:lnTo>
                      <a:pt x="12097" y="4013"/>
                    </a:lnTo>
                    <a:lnTo>
                      <a:pt x="11239" y="5442"/>
                    </a:lnTo>
                    <a:lnTo>
                      <a:pt x="11239" y="5442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" name="Freihandform: Form 418">
                <a:extLst>
                  <a:ext uri="{FF2B5EF4-FFF2-40B4-BE49-F238E27FC236}">
                    <a16:creationId xmlns:a16="http://schemas.microsoft.com/office/drawing/2014/main" id="{09824822-3DF0-81A0-4D62-1D0D31DF5986}"/>
                  </a:ext>
                </a:extLst>
              </p:cNvPr>
              <p:cNvSpPr/>
              <p:nvPr/>
            </p:nvSpPr>
            <p:spPr>
              <a:xfrm>
                <a:off x="3842377" y="6799101"/>
                <a:ext cx="13906" cy="13906"/>
              </a:xfrm>
              <a:custGeom>
                <a:avLst/>
                <a:gdLst>
                  <a:gd name="connsiteX0" fmla="*/ 12859 w 13906"/>
                  <a:gd name="connsiteY0" fmla="*/ 7620 h 13906"/>
                  <a:gd name="connsiteX1" fmla="*/ 6953 w 13906"/>
                  <a:gd name="connsiteY1" fmla="*/ 2477 h 13906"/>
                  <a:gd name="connsiteX2" fmla="*/ 6096 w 13906"/>
                  <a:gd name="connsiteY2" fmla="*/ 1619 h 13906"/>
                  <a:gd name="connsiteX3" fmla="*/ 6096 w 13906"/>
                  <a:gd name="connsiteY3" fmla="*/ 1619 h 13906"/>
                  <a:gd name="connsiteX4" fmla="*/ 6667 w 13906"/>
                  <a:gd name="connsiteY4" fmla="*/ 2762 h 13906"/>
                  <a:gd name="connsiteX5" fmla="*/ 10287 w 13906"/>
                  <a:gd name="connsiteY5" fmla="*/ 10001 h 13906"/>
                  <a:gd name="connsiteX6" fmla="*/ 9620 w 13906"/>
                  <a:gd name="connsiteY6" fmla="*/ 10668 h 13906"/>
                  <a:gd name="connsiteX7" fmla="*/ 2667 w 13906"/>
                  <a:gd name="connsiteY7" fmla="*/ 6477 h 13906"/>
                  <a:gd name="connsiteX8" fmla="*/ 1619 w 13906"/>
                  <a:gd name="connsiteY8" fmla="*/ 5810 h 13906"/>
                  <a:gd name="connsiteX9" fmla="*/ 1619 w 13906"/>
                  <a:gd name="connsiteY9" fmla="*/ 5810 h 13906"/>
                  <a:gd name="connsiteX10" fmla="*/ 2381 w 13906"/>
                  <a:gd name="connsiteY10" fmla="*/ 6763 h 13906"/>
                  <a:gd name="connsiteX11" fmla="*/ 7048 w 13906"/>
                  <a:gd name="connsiteY11" fmla="*/ 13049 h 13906"/>
                  <a:gd name="connsiteX12" fmla="*/ 6191 w 13906"/>
                  <a:gd name="connsiteY12" fmla="*/ 13906 h 13906"/>
                  <a:gd name="connsiteX13" fmla="*/ 0 w 13906"/>
                  <a:gd name="connsiteY13" fmla="*/ 5429 h 13906"/>
                  <a:gd name="connsiteX14" fmla="*/ 1143 w 13906"/>
                  <a:gd name="connsiteY14" fmla="*/ 4381 h 13906"/>
                  <a:gd name="connsiteX15" fmla="*/ 7906 w 13906"/>
                  <a:gd name="connsiteY15" fmla="*/ 8382 h 13906"/>
                  <a:gd name="connsiteX16" fmla="*/ 8953 w 13906"/>
                  <a:gd name="connsiteY16" fmla="*/ 9144 h 13906"/>
                  <a:gd name="connsiteX17" fmla="*/ 8953 w 13906"/>
                  <a:gd name="connsiteY17" fmla="*/ 9144 h 13906"/>
                  <a:gd name="connsiteX18" fmla="*/ 8287 w 13906"/>
                  <a:gd name="connsiteY18" fmla="*/ 8001 h 13906"/>
                  <a:gd name="connsiteX19" fmla="*/ 4763 w 13906"/>
                  <a:gd name="connsiteY19" fmla="*/ 1048 h 13906"/>
                  <a:gd name="connsiteX20" fmla="*/ 5905 w 13906"/>
                  <a:gd name="connsiteY20" fmla="*/ 0 h 13906"/>
                  <a:gd name="connsiteX21" fmla="*/ 13906 w 13906"/>
                  <a:gd name="connsiteY21" fmla="*/ 6763 h 13906"/>
                  <a:gd name="connsiteX22" fmla="*/ 12859 w 13906"/>
                  <a:gd name="connsiteY22" fmla="*/ 7715 h 13906"/>
                  <a:gd name="connsiteX23" fmla="*/ 12859 w 13906"/>
                  <a:gd name="connsiteY23" fmla="*/ 7715 h 13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906" h="13906">
                    <a:moveTo>
                      <a:pt x="12859" y="7620"/>
                    </a:moveTo>
                    <a:lnTo>
                      <a:pt x="6953" y="2477"/>
                    </a:lnTo>
                    <a:cubicBezTo>
                      <a:pt x="6953" y="2477"/>
                      <a:pt x="6382" y="1905"/>
                      <a:pt x="6096" y="1619"/>
                    </a:cubicBezTo>
                    <a:lnTo>
                      <a:pt x="6096" y="1619"/>
                    </a:lnTo>
                    <a:cubicBezTo>
                      <a:pt x="6096" y="1619"/>
                      <a:pt x="6572" y="2381"/>
                      <a:pt x="6667" y="2762"/>
                    </a:cubicBezTo>
                    <a:lnTo>
                      <a:pt x="10287" y="10001"/>
                    </a:lnTo>
                    <a:lnTo>
                      <a:pt x="9620" y="10668"/>
                    </a:lnTo>
                    <a:lnTo>
                      <a:pt x="2667" y="6477"/>
                    </a:lnTo>
                    <a:cubicBezTo>
                      <a:pt x="2667" y="6477"/>
                      <a:pt x="2096" y="6096"/>
                      <a:pt x="1619" y="5810"/>
                    </a:cubicBezTo>
                    <a:lnTo>
                      <a:pt x="1619" y="5810"/>
                    </a:lnTo>
                    <a:cubicBezTo>
                      <a:pt x="1619" y="5810"/>
                      <a:pt x="2191" y="6477"/>
                      <a:pt x="2381" y="6763"/>
                    </a:cubicBezTo>
                    <a:lnTo>
                      <a:pt x="7048" y="13049"/>
                    </a:lnTo>
                    <a:lnTo>
                      <a:pt x="6191" y="13906"/>
                    </a:lnTo>
                    <a:lnTo>
                      <a:pt x="0" y="5429"/>
                    </a:lnTo>
                    <a:lnTo>
                      <a:pt x="1143" y="4381"/>
                    </a:lnTo>
                    <a:lnTo>
                      <a:pt x="7906" y="8382"/>
                    </a:lnTo>
                    <a:cubicBezTo>
                      <a:pt x="7906" y="8382"/>
                      <a:pt x="8572" y="8858"/>
                      <a:pt x="8953" y="9144"/>
                    </a:cubicBezTo>
                    <a:lnTo>
                      <a:pt x="8953" y="9144"/>
                    </a:lnTo>
                    <a:cubicBezTo>
                      <a:pt x="8953" y="9144"/>
                      <a:pt x="8477" y="8382"/>
                      <a:pt x="8287" y="8001"/>
                    </a:cubicBezTo>
                    <a:lnTo>
                      <a:pt x="4763" y="1048"/>
                    </a:lnTo>
                    <a:lnTo>
                      <a:pt x="5905" y="0"/>
                    </a:lnTo>
                    <a:lnTo>
                      <a:pt x="13906" y="6763"/>
                    </a:lnTo>
                    <a:lnTo>
                      <a:pt x="12859" y="7715"/>
                    </a:lnTo>
                    <a:lnTo>
                      <a:pt x="12859" y="7715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4" name="Freihandform: Form 419">
                <a:extLst>
                  <a:ext uri="{FF2B5EF4-FFF2-40B4-BE49-F238E27FC236}">
                    <a16:creationId xmlns:a16="http://schemas.microsoft.com/office/drawing/2014/main" id="{332FC8BB-BBFF-A88C-2AF9-0E8996EB4671}"/>
                  </a:ext>
                </a:extLst>
              </p:cNvPr>
              <p:cNvSpPr/>
              <p:nvPr/>
            </p:nvSpPr>
            <p:spPr>
              <a:xfrm>
                <a:off x="3856093" y="6793672"/>
                <a:ext cx="8953" cy="11525"/>
              </a:xfrm>
              <a:custGeom>
                <a:avLst/>
                <a:gdLst>
                  <a:gd name="connsiteX0" fmla="*/ 2000 w 8953"/>
                  <a:gd name="connsiteY0" fmla="*/ 2381 h 11525"/>
                  <a:gd name="connsiteX1" fmla="*/ 1143 w 8953"/>
                  <a:gd name="connsiteY1" fmla="*/ 1333 h 11525"/>
                  <a:gd name="connsiteX2" fmla="*/ 1143 w 8953"/>
                  <a:gd name="connsiteY2" fmla="*/ 1333 h 11525"/>
                  <a:gd name="connsiteX3" fmla="*/ 1429 w 8953"/>
                  <a:gd name="connsiteY3" fmla="*/ 2667 h 11525"/>
                  <a:gd name="connsiteX4" fmla="*/ 2000 w 8953"/>
                  <a:gd name="connsiteY4" fmla="*/ 6763 h 11525"/>
                  <a:gd name="connsiteX5" fmla="*/ 4858 w 8953"/>
                  <a:gd name="connsiteY5" fmla="*/ 5429 h 11525"/>
                  <a:gd name="connsiteX6" fmla="*/ 2000 w 8953"/>
                  <a:gd name="connsiteY6" fmla="*/ 2381 h 11525"/>
                  <a:gd name="connsiteX7" fmla="*/ 2000 w 8953"/>
                  <a:gd name="connsiteY7" fmla="*/ 2381 h 11525"/>
                  <a:gd name="connsiteX8" fmla="*/ 7620 w 8953"/>
                  <a:gd name="connsiteY8" fmla="*/ 8477 h 11525"/>
                  <a:gd name="connsiteX9" fmla="*/ 5334 w 8953"/>
                  <a:gd name="connsiteY9" fmla="*/ 6096 h 11525"/>
                  <a:gd name="connsiteX10" fmla="*/ 2000 w 8953"/>
                  <a:gd name="connsiteY10" fmla="*/ 7715 h 11525"/>
                  <a:gd name="connsiteX11" fmla="*/ 2477 w 8953"/>
                  <a:gd name="connsiteY11" fmla="*/ 10954 h 11525"/>
                  <a:gd name="connsiteX12" fmla="*/ 1238 w 8953"/>
                  <a:gd name="connsiteY12" fmla="*/ 11525 h 11525"/>
                  <a:gd name="connsiteX13" fmla="*/ 0 w 8953"/>
                  <a:gd name="connsiteY13" fmla="*/ 571 h 11525"/>
                  <a:gd name="connsiteX14" fmla="*/ 1238 w 8953"/>
                  <a:gd name="connsiteY14" fmla="*/ 0 h 11525"/>
                  <a:gd name="connsiteX15" fmla="*/ 8954 w 8953"/>
                  <a:gd name="connsiteY15" fmla="*/ 7810 h 11525"/>
                  <a:gd name="connsiteX16" fmla="*/ 7620 w 8953"/>
                  <a:gd name="connsiteY16" fmla="*/ 8477 h 11525"/>
                  <a:gd name="connsiteX17" fmla="*/ 7620 w 8953"/>
                  <a:gd name="connsiteY17" fmla="*/ 8477 h 1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8953" h="11525">
                    <a:moveTo>
                      <a:pt x="2000" y="2381"/>
                    </a:moveTo>
                    <a:cubicBezTo>
                      <a:pt x="2000" y="2381"/>
                      <a:pt x="1334" y="1619"/>
                      <a:pt x="1143" y="1333"/>
                    </a:cubicBezTo>
                    <a:lnTo>
                      <a:pt x="1143" y="1333"/>
                    </a:lnTo>
                    <a:cubicBezTo>
                      <a:pt x="1143" y="1333"/>
                      <a:pt x="1334" y="2286"/>
                      <a:pt x="1429" y="2667"/>
                    </a:cubicBezTo>
                    <a:lnTo>
                      <a:pt x="2000" y="6763"/>
                    </a:lnTo>
                    <a:lnTo>
                      <a:pt x="4858" y="5429"/>
                    </a:lnTo>
                    <a:lnTo>
                      <a:pt x="2000" y="2381"/>
                    </a:lnTo>
                    <a:lnTo>
                      <a:pt x="2000" y="2381"/>
                    </a:lnTo>
                    <a:close/>
                    <a:moveTo>
                      <a:pt x="7620" y="8477"/>
                    </a:moveTo>
                    <a:lnTo>
                      <a:pt x="5334" y="6096"/>
                    </a:lnTo>
                    <a:lnTo>
                      <a:pt x="2000" y="7715"/>
                    </a:lnTo>
                    <a:lnTo>
                      <a:pt x="2477" y="10954"/>
                    </a:lnTo>
                    <a:lnTo>
                      <a:pt x="1238" y="11525"/>
                    </a:lnTo>
                    <a:lnTo>
                      <a:pt x="0" y="571"/>
                    </a:lnTo>
                    <a:lnTo>
                      <a:pt x="1238" y="0"/>
                    </a:lnTo>
                    <a:lnTo>
                      <a:pt x="8954" y="7810"/>
                    </a:lnTo>
                    <a:lnTo>
                      <a:pt x="7620" y="8477"/>
                    </a:lnTo>
                    <a:lnTo>
                      <a:pt x="7620" y="8477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5" name="Freihandform: Form 420">
                <a:extLst>
                  <a:ext uri="{FF2B5EF4-FFF2-40B4-BE49-F238E27FC236}">
                    <a16:creationId xmlns:a16="http://schemas.microsoft.com/office/drawing/2014/main" id="{2495239A-4BD3-8ECC-0D40-7258F43B2063}"/>
                  </a:ext>
                </a:extLst>
              </p:cNvPr>
              <p:cNvSpPr/>
              <p:nvPr/>
            </p:nvSpPr>
            <p:spPr>
              <a:xfrm>
                <a:off x="3862761" y="6790052"/>
                <a:ext cx="6000" cy="10953"/>
              </a:xfrm>
              <a:custGeom>
                <a:avLst/>
                <a:gdLst>
                  <a:gd name="connsiteX0" fmla="*/ 3810 w 6000"/>
                  <a:gd name="connsiteY0" fmla="*/ 1429 h 10953"/>
                  <a:gd name="connsiteX1" fmla="*/ 6001 w 6000"/>
                  <a:gd name="connsiteY1" fmla="*/ 10668 h 10953"/>
                  <a:gd name="connsiteX2" fmla="*/ 4572 w 6000"/>
                  <a:gd name="connsiteY2" fmla="*/ 10954 h 10953"/>
                  <a:gd name="connsiteX3" fmla="*/ 2381 w 6000"/>
                  <a:gd name="connsiteY3" fmla="*/ 1715 h 10953"/>
                  <a:gd name="connsiteX4" fmla="*/ 190 w 6000"/>
                  <a:gd name="connsiteY4" fmla="*/ 2286 h 10953"/>
                  <a:gd name="connsiteX5" fmla="*/ 0 w 6000"/>
                  <a:gd name="connsiteY5" fmla="*/ 1333 h 10953"/>
                  <a:gd name="connsiteX6" fmla="*/ 5810 w 6000"/>
                  <a:gd name="connsiteY6" fmla="*/ 0 h 10953"/>
                  <a:gd name="connsiteX7" fmla="*/ 6001 w 6000"/>
                  <a:gd name="connsiteY7" fmla="*/ 857 h 10953"/>
                  <a:gd name="connsiteX8" fmla="*/ 3810 w 6000"/>
                  <a:gd name="connsiteY8" fmla="*/ 1429 h 10953"/>
                  <a:gd name="connsiteX9" fmla="*/ 3810 w 6000"/>
                  <a:gd name="connsiteY9" fmla="*/ 1429 h 10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000" h="10953">
                    <a:moveTo>
                      <a:pt x="3810" y="1429"/>
                    </a:moveTo>
                    <a:lnTo>
                      <a:pt x="6001" y="10668"/>
                    </a:lnTo>
                    <a:lnTo>
                      <a:pt x="4572" y="10954"/>
                    </a:lnTo>
                    <a:lnTo>
                      <a:pt x="2381" y="1715"/>
                    </a:lnTo>
                    <a:lnTo>
                      <a:pt x="190" y="2286"/>
                    </a:lnTo>
                    <a:lnTo>
                      <a:pt x="0" y="1333"/>
                    </a:lnTo>
                    <a:lnTo>
                      <a:pt x="5810" y="0"/>
                    </a:lnTo>
                    <a:lnTo>
                      <a:pt x="6001" y="857"/>
                    </a:lnTo>
                    <a:lnTo>
                      <a:pt x="3810" y="1429"/>
                    </a:lnTo>
                    <a:lnTo>
                      <a:pt x="3810" y="1429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" name="Freihandform: Form 421">
                <a:extLst>
                  <a:ext uri="{FF2B5EF4-FFF2-40B4-BE49-F238E27FC236}">
                    <a16:creationId xmlns:a16="http://schemas.microsoft.com/office/drawing/2014/main" id="{77AEE227-14D0-BEDB-0D24-5801BDD7C73B}"/>
                  </a:ext>
                </a:extLst>
              </p:cNvPr>
              <p:cNvSpPr/>
              <p:nvPr/>
            </p:nvSpPr>
            <p:spPr>
              <a:xfrm>
                <a:off x="3871810" y="6789100"/>
                <a:ext cx="7810" cy="10763"/>
              </a:xfrm>
              <a:custGeom>
                <a:avLst/>
                <a:gdLst>
                  <a:gd name="connsiteX0" fmla="*/ 3810 w 7810"/>
                  <a:gd name="connsiteY0" fmla="*/ 1048 h 10763"/>
                  <a:gd name="connsiteX1" fmla="*/ 1429 w 7810"/>
                  <a:gd name="connsiteY1" fmla="*/ 5429 h 10763"/>
                  <a:gd name="connsiteX2" fmla="*/ 3905 w 7810"/>
                  <a:gd name="connsiteY2" fmla="*/ 9811 h 10763"/>
                  <a:gd name="connsiteX3" fmla="*/ 6287 w 7810"/>
                  <a:gd name="connsiteY3" fmla="*/ 5334 h 10763"/>
                  <a:gd name="connsiteX4" fmla="*/ 3810 w 7810"/>
                  <a:gd name="connsiteY4" fmla="*/ 1048 h 10763"/>
                  <a:gd name="connsiteX5" fmla="*/ 3810 w 7810"/>
                  <a:gd name="connsiteY5" fmla="*/ 1048 h 10763"/>
                  <a:gd name="connsiteX6" fmla="*/ 4000 w 7810"/>
                  <a:gd name="connsiteY6" fmla="*/ 10763 h 10763"/>
                  <a:gd name="connsiteX7" fmla="*/ 0 w 7810"/>
                  <a:gd name="connsiteY7" fmla="*/ 5429 h 10763"/>
                  <a:gd name="connsiteX8" fmla="*/ 3810 w 7810"/>
                  <a:gd name="connsiteY8" fmla="*/ 0 h 10763"/>
                  <a:gd name="connsiteX9" fmla="*/ 7810 w 7810"/>
                  <a:gd name="connsiteY9" fmla="*/ 5334 h 10763"/>
                  <a:gd name="connsiteX10" fmla="*/ 4000 w 7810"/>
                  <a:gd name="connsiteY10" fmla="*/ 10763 h 10763"/>
                  <a:gd name="connsiteX11" fmla="*/ 4000 w 7810"/>
                  <a:gd name="connsiteY11" fmla="*/ 10763 h 10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810" h="10763">
                    <a:moveTo>
                      <a:pt x="3810" y="1048"/>
                    </a:moveTo>
                    <a:cubicBezTo>
                      <a:pt x="2000" y="1048"/>
                      <a:pt x="1429" y="3143"/>
                      <a:pt x="1429" y="5429"/>
                    </a:cubicBezTo>
                    <a:cubicBezTo>
                      <a:pt x="1429" y="7715"/>
                      <a:pt x="2096" y="9811"/>
                      <a:pt x="3905" y="9811"/>
                    </a:cubicBezTo>
                    <a:cubicBezTo>
                      <a:pt x="5715" y="9811"/>
                      <a:pt x="6287" y="7715"/>
                      <a:pt x="6287" y="5334"/>
                    </a:cubicBezTo>
                    <a:cubicBezTo>
                      <a:pt x="6287" y="3048"/>
                      <a:pt x="5620" y="952"/>
                      <a:pt x="3810" y="1048"/>
                    </a:cubicBezTo>
                    <a:lnTo>
                      <a:pt x="3810" y="1048"/>
                    </a:lnTo>
                    <a:close/>
                    <a:moveTo>
                      <a:pt x="4000" y="10763"/>
                    </a:moveTo>
                    <a:cubicBezTo>
                      <a:pt x="1333" y="10763"/>
                      <a:pt x="95" y="8477"/>
                      <a:pt x="0" y="5429"/>
                    </a:cubicBezTo>
                    <a:cubicBezTo>
                      <a:pt x="0" y="2381"/>
                      <a:pt x="1143" y="95"/>
                      <a:pt x="3810" y="0"/>
                    </a:cubicBezTo>
                    <a:cubicBezTo>
                      <a:pt x="6477" y="0"/>
                      <a:pt x="7715" y="2286"/>
                      <a:pt x="7810" y="5334"/>
                    </a:cubicBezTo>
                    <a:cubicBezTo>
                      <a:pt x="7810" y="8382"/>
                      <a:pt x="6667" y="10668"/>
                      <a:pt x="4000" y="10763"/>
                    </a:cubicBezTo>
                    <a:lnTo>
                      <a:pt x="4000" y="10763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7" name="Freihandform: Form 422">
                <a:extLst>
                  <a:ext uri="{FF2B5EF4-FFF2-40B4-BE49-F238E27FC236}">
                    <a16:creationId xmlns:a16="http://schemas.microsoft.com/office/drawing/2014/main" id="{D161C12E-63C0-5BFD-01B1-57D7D055CCEE}"/>
                  </a:ext>
                </a:extLst>
              </p:cNvPr>
              <p:cNvSpPr/>
              <p:nvPr/>
            </p:nvSpPr>
            <p:spPr>
              <a:xfrm>
                <a:off x="3881715" y="6790052"/>
                <a:ext cx="4667" cy="11239"/>
              </a:xfrm>
              <a:custGeom>
                <a:avLst/>
                <a:gdLst>
                  <a:gd name="connsiteX0" fmla="*/ 0 w 4667"/>
                  <a:gd name="connsiteY0" fmla="*/ 10192 h 11239"/>
                  <a:gd name="connsiteX1" fmla="*/ 2191 w 4667"/>
                  <a:gd name="connsiteY1" fmla="*/ 0 h 11239"/>
                  <a:gd name="connsiteX2" fmla="*/ 3620 w 4667"/>
                  <a:gd name="connsiteY2" fmla="*/ 381 h 11239"/>
                  <a:gd name="connsiteX3" fmla="*/ 1524 w 4667"/>
                  <a:gd name="connsiteY3" fmla="*/ 9620 h 11239"/>
                  <a:gd name="connsiteX4" fmla="*/ 4667 w 4667"/>
                  <a:gd name="connsiteY4" fmla="*/ 10287 h 11239"/>
                  <a:gd name="connsiteX5" fmla="*/ 4477 w 4667"/>
                  <a:gd name="connsiteY5" fmla="*/ 11240 h 11239"/>
                  <a:gd name="connsiteX6" fmla="*/ 0 w 4667"/>
                  <a:gd name="connsiteY6" fmla="*/ 10192 h 11239"/>
                  <a:gd name="connsiteX7" fmla="*/ 0 w 4667"/>
                  <a:gd name="connsiteY7" fmla="*/ 10192 h 11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67" h="11239">
                    <a:moveTo>
                      <a:pt x="0" y="10192"/>
                    </a:moveTo>
                    <a:lnTo>
                      <a:pt x="2191" y="0"/>
                    </a:lnTo>
                    <a:lnTo>
                      <a:pt x="3620" y="381"/>
                    </a:lnTo>
                    <a:lnTo>
                      <a:pt x="1524" y="9620"/>
                    </a:lnTo>
                    <a:lnTo>
                      <a:pt x="4667" y="10287"/>
                    </a:lnTo>
                    <a:lnTo>
                      <a:pt x="4477" y="11240"/>
                    </a:lnTo>
                    <a:lnTo>
                      <a:pt x="0" y="10192"/>
                    </a:lnTo>
                    <a:lnTo>
                      <a:pt x="0" y="10192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8" name="Freihandform: Form 423">
                <a:extLst>
                  <a:ext uri="{FF2B5EF4-FFF2-40B4-BE49-F238E27FC236}">
                    <a16:creationId xmlns:a16="http://schemas.microsoft.com/office/drawing/2014/main" id="{B52C6805-1C07-6DB5-C2B8-B12D0D238192}"/>
                  </a:ext>
                </a:extLst>
              </p:cNvPr>
              <p:cNvSpPr/>
              <p:nvPr/>
            </p:nvSpPr>
            <p:spPr>
              <a:xfrm>
                <a:off x="3888577" y="6793015"/>
                <a:ext cx="8661" cy="10456"/>
              </a:xfrm>
              <a:custGeom>
                <a:avLst/>
                <a:gdLst>
                  <a:gd name="connsiteX0" fmla="*/ 6188 w 8661"/>
                  <a:gd name="connsiteY0" fmla="*/ 1228 h 10456"/>
                  <a:gd name="connsiteX1" fmla="*/ 2188 w 8661"/>
                  <a:gd name="connsiteY1" fmla="*/ 4181 h 10456"/>
                  <a:gd name="connsiteX2" fmla="*/ 2569 w 8661"/>
                  <a:gd name="connsiteY2" fmla="*/ 9229 h 10456"/>
                  <a:gd name="connsiteX3" fmla="*/ 6569 w 8661"/>
                  <a:gd name="connsiteY3" fmla="*/ 6276 h 10456"/>
                  <a:gd name="connsiteX4" fmla="*/ 6188 w 8661"/>
                  <a:gd name="connsiteY4" fmla="*/ 1323 h 10456"/>
                  <a:gd name="connsiteX5" fmla="*/ 6188 w 8661"/>
                  <a:gd name="connsiteY5" fmla="*/ 1323 h 10456"/>
                  <a:gd name="connsiteX6" fmla="*/ 2092 w 8661"/>
                  <a:gd name="connsiteY6" fmla="*/ 10086 h 10456"/>
                  <a:gd name="connsiteX7" fmla="*/ 854 w 8661"/>
                  <a:gd name="connsiteY7" fmla="*/ 3609 h 10456"/>
                  <a:gd name="connsiteX8" fmla="*/ 6569 w 8661"/>
                  <a:gd name="connsiteY8" fmla="*/ 371 h 10456"/>
                  <a:gd name="connsiteX9" fmla="*/ 7807 w 8661"/>
                  <a:gd name="connsiteY9" fmla="*/ 6848 h 10456"/>
                  <a:gd name="connsiteX10" fmla="*/ 1997 w 8661"/>
                  <a:gd name="connsiteY10" fmla="*/ 10086 h 10456"/>
                  <a:gd name="connsiteX11" fmla="*/ 1997 w 8661"/>
                  <a:gd name="connsiteY11" fmla="*/ 10086 h 10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661" h="10456">
                    <a:moveTo>
                      <a:pt x="6188" y="1228"/>
                    </a:moveTo>
                    <a:cubicBezTo>
                      <a:pt x="4473" y="466"/>
                      <a:pt x="3140" y="2085"/>
                      <a:pt x="2188" y="4181"/>
                    </a:cubicBezTo>
                    <a:cubicBezTo>
                      <a:pt x="1235" y="6276"/>
                      <a:pt x="854" y="8372"/>
                      <a:pt x="2569" y="9229"/>
                    </a:cubicBezTo>
                    <a:cubicBezTo>
                      <a:pt x="4283" y="9991"/>
                      <a:pt x="5616" y="8372"/>
                      <a:pt x="6569" y="6276"/>
                    </a:cubicBezTo>
                    <a:cubicBezTo>
                      <a:pt x="7522" y="4181"/>
                      <a:pt x="7903" y="2085"/>
                      <a:pt x="6188" y="1323"/>
                    </a:cubicBezTo>
                    <a:lnTo>
                      <a:pt x="6188" y="1323"/>
                    </a:lnTo>
                    <a:close/>
                    <a:moveTo>
                      <a:pt x="2092" y="10086"/>
                    </a:moveTo>
                    <a:cubicBezTo>
                      <a:pt x="-384" y="8943"/>
                      <a:pt x="-479" y="6371"/>
                      <a:pt x="854" y="3609"/>
                    </a:cubicBezTo>
                    <a:cubicBezTo>
                      <a:pt x="2092" y="847"/>
                      <a:pt x="4188" y="-772"/>
                      <a:pt x="6569" y="371"/>
                    </a:cubicBezTo>
                    <a:cubicBezTo>
                      <a:pt x="9046" y="1514"/>
                      <a:pt x="9141" y="4085"/>
                      <a:pt x="7807" y="6848"/>
                    </a:cubicBezTo>
                    <a:cubicBezTo>
                      <a:pt x="6569" y="9610"/>
                      <a:pt x="4473" y="11229"/>
                      <a:pt x="1997" y="10086"/>
                    </a:cubicBezTo>
                    <a:lnTo>
                      <a:pt x="1997" y="10086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" name="Freihandform: Form 424">
                <a:extLst>
                  <a:ext uri="{FF2B5EF4-FFF2-40B4-BE49-F238E27FC236}">
                    <a16:creationId xmlns:a16="http://schemas.microsoft.com/office/drawing/2014/main" id="{B15A859F-8950-C995-A068-C6D7C2069807}"/>
                  </a:ext>
                </a:extLst>
              </p:cNvPr>
              <p:cNvSpPr/>
              <p:nvPr/>
            </p:nvSpPr>
            <p:spPr>
              <a:xfrm>
                <a:off x="3897534" y="6799342"/>
                <a:ext cx="10184" cy="10617"/>
              </a:xfrm>
              <a:custGeom>
                <a:avLst/>
                <a:gdLst>
                  <a:gd name="connsiteX0" fmla="*/ 1612 w 10184"/>
                  <a:gd name="connsiteY0" fmla="*/ 9284 h 10617"/>
                  <a:gd name="connsiteX1" fmla="*/ 1612 w 10184"/>
                  <a:gd name="connsiteY1" fmla="*/ 2236 h 10617"/>
                  <a:gd name="connsiteX2" fmla="*/ 8661 w 10184"/>
                  <a:gd name="connsiteY2" fmla="*/ 1093 h 10617"/>
                  <a:gd name="connsiteX3" fmla="*/ 10185 w 10184"/>
                  <a:gd name="connsiteY3" fmla="*/ 3093 h 10617"/>
                  <a:gd name="connsiteX4" fmla="*/ 9328 w 10184"/>
                  <a:gd name="connsiteY4" fmla="*/ 3474 h 10617"/>
                  <a:gd name="connsiteX5" fmla="*/ 8089 w 10184"/>
                  <a:gd name="connsiteY5" fmla="*/ 1855 h 10617"/>
                  <a:gd name="connsiteX6" fmla="*/ 2755 w 10184"/>
                  <a:gd name="connsiteY6" fmla="*/ 3188 h 10617"/>
                  <a:gd name="connsiteX7" fmla="*/ 2374 w 10184"/>
                  <a:gd name="connsiteY7" fmla="*/ 8427 h 10617"/>
                  <a:gd name="connsiteX8" fmla="*/ 3612 w 10184"/>
                  <a:gd name="connsiteY8" fmla="*/ 9189 h 10617"/>
                  <a:gd name="connsiteX9" fmla="*/ 6089 w 10184"/>
                  <a:gd name="connsiteY9" fmla="*/ 6141 h 10617"/>
                  <a:gd name="connsiteX10" fmla="*/ 4565 w 10184"/>
                  <a:gd name="connsiteY10" fmla="*/ 4903 h 10617"/>
                  <a:gd name="connsiteX11" fmla="*/ 5137 w 10184"/>
                  <a:gd name="connsiteY11" fmla="*/ 4236 h 10617"/>
                  <a:gd name="connsiteX12" fmla="*/ 7708 w 10184"/>
                  <a:gd name="connsiteY12" fmla="*/ 6427 h 10617"/>
                  <a:gd name="connsiteX13" fmla="*/ 4184 w 10184"/>
                  <a:gd name="connsiteY13" fmla="*/ 10618 h 10617"/>
                  <a:gd name="connsiteX14" fmla="*/ 1708 w 10184"/>
                  <a:gd name="connsiteY14" fmla="*/ 9284 h 10617"/>
                  <a:gd name="connsiteX15" fmla="*/ 1708 w 10184"/>
                  <a:gd name="connsiteY15" fmla="*/ 9284 h 10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184" h="10617">
                    <a:moveTo>
                      <a:pt x="1612" y="9284"/>
                    </a:moveTo>
                    <a:cubicBezTo>
                      <a:pt x="-293" y="7665"/>
                      <a:pt x="-769" y="4998"/>
                      <a:pt x="1612" y="2236"/>
                    </a:cubicBezTo>
                    <a:cubicBezTo>
                      <a:pt x="3708" y="-241"/>
                      <a:pt x="6375" y="-717"/>
                      <a:pt x="8661" y="1093"/>
                    </a:cubicBezTo>
                    <a:cubicBezTo>
                      <a:pt x="9423" y="1760"/>
                      <a:pt x="9899" y="2426"/>
                      <a:pt x="10185" y="3093"/>
                    </a:cubicBezTo>
                    <a:lnTo>
                      <a:pt x="9328" y="3474"/>
                    </a:lnTo>
                    <a:cubicBezTo>
                      <a:pt x="9137" y="2998"/>
                      <a:pt x="8756" y="2331"/>
                      <a:pt x="8089" y="1855"/>
                    </a:cubicBezTo>
                    <a:cubicBezTo>
                      <a:pt x="6470" y="521"/>
                      <a:pt x="4470" y="1093"/>
                      <a:pt x="2755" y="3188"/>
                    </a:cubicBezTo>
                    <a:cubicBezTo>
                      <a:pt x="850" y="5474"/>
                      <a:pt x="1136" y="7379"/>
                      <a:pt x="2374" y="8427"/>
                    </a:cubicBezTo>
                    <a:cubicBezTo>
                      <a:pt x="2755" y="8713"/>
                      <a:pt x="3231" y="8999"/>
                      <a:pt x="3612" y="9189"/>
                    </a:cubicBezTo>
                    <a:lnTo>
                      <a:pt x="6089" y="6141"/>
                    </a:lnTo>
                    <a:lnTo>
                      <a:pt x="4565" y="4903"/>
                    </a:lnTo>
                    <a:lnTo>
                      <a:pt x="5137" y="4236"/>
                    </a:lnTo>
                    <a:lnTo>
                      <a:pt x="7708" y="6427"/>
                    </a:lnTo>
                    <a:lnTo>
                      <a:pt x="4184" y="10618"/>
                    </a:lnTo>
                    <a:cubicBezTo>
                      <a:pt x="3422" y="10427"/>
                      <a:pt x="2470" y="9951"/>
                      <a:pt x="1708" y="9284"/>
                    </a:cubicBezTo>
                    <a:lnTo>
                      <a:pt x="1708" y="9284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0" name="Freihandform: Form 425">
                <a:extLst>
                  <a:ext uri="{FF2B5EF4-FFF2-40B4-BE49-F238E27FC236}">
                    <a16:creationId xmlns:a16="http://schemas.microsoft.com/office/drawing/2014/main" id="{0DA8C9EE-AA06-2B21-9B6A-2A25350B1BEE}"/>
                  </a:ext>
                </a:extLst>
              </p:cNvPr>
              <p:cNvSpPr/>
              <p:nvPr/>
            </p:nvSpPr>
            <p:spPr>
              <a:xfrm>
                <a:off x="3902766" y="6805673"/>
                <a:ext cx="8953" cy="7619"/>
              </a:xfrm>
              <a:custGeom>
                <a:avLst/>
                <a:gdLst>
                  <a:gd name="connsiteX0" fmla="*/ 0 w 8953"/>
                  <a:gd name="connsiteY0" fmla="*/ 6572 h 7619"/>
                  <a:gd name="connsiteX1" fmla="*/ 8096 w 8953"/>
                  <a:gd name="connsiteY1" fmla="*/ 0 h 7619"/>
                  <a:gd name="connsiteX2" fmla="*/ 8954 w 8953"/>
                  <a:gd name="connsiteY2" fmla="*/ 1048 h 7619"/>
                  <a:gd name="connsiteX3" fmla="*/ 952 w 8953"/>
                  <a:gd name="connsiteY3" fmla="*/ 7620 h 7619"/>
                  <a:gd name="connsiteX4" fmla="*/ 0 w 8953"/>
                  <a:gd name="connsiteY4" fmla="*/ 6572 h 7619"/>
                  <a:gd name="connsiteX5" fmla="*/ 0 w 8953"/>
                  <a:gd name="connsiteY5" fmla="*/ 6572 h 7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53" h="7619">
                    <a:moveTo>
                      <a:pt x="0" y="6572"/>
                    </a:moveTo>
                    <a:lnTo>
                      <a:pt x="8096" y="0"/>
                    </a:lnTo>
                    <a:lnTo>
                      <a:pt x="8954" y="1048"/>
                    </a:lnTo>
                    <a:lnTo>
                      <a:pt x="952" y="7620"/>
                    </a:lnTo>
                    <a:lnTo>
                      <a:pt x="0" y="6572"/>
                    </a:lnTo>
                    <a:lnTo>
                      <a:pt x="0" y="6572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1" name="Freihandform: Form 426">
                <a:extLst>
                  <a:ext uri="{FF2B5EF4-FFF2-40B4-BE49-F238E27FC236}">
                    <a16:creationId xmlns:a16="http://schemas.microsoft.com/office/drawing/2014/main" id="{AC5DECEF-F0DF-9366-1CE1-49172E35A6BD}"/>
                  </a:ext>
                </a:extLst>
              </p:cNvPr>
              <p:cNvSpPr/>
              <p:nvPr/>
            </p:nvSpPr>
            <p:spPr>
              <a:xfrm>
                <a:off x="3905433" y="6810632"/>
                <a:ext cx="11144" cy="8386"/>
              </a:xfrm>
              <a:custGeom>
                <a:avLst/>
                <a:gdLst>
                  <a:gd name="connsiteX0" fmla="*/ 762 w 11144"/>
                  <a:gd name="connsiteY0" fmla="*/ 6471 h 8386"/>
                  <a:gd name="connsiteX1" fmla="*/ 0 w 11144"/>
                  <a:gd name="connsiteY1" fmla="*/ 3900 h 8386"/>
                  <a:gd name="connsiteX2" fmla="*/ 1048 w 11144"/>
                  <a:gd name="connsiteY2" fmla="*/ 3900 h 8386"/>
                  <a:gd name="connsiteX3" fmla="*/ 1714 w 11144"/>
                  <a:gd name="connsiteY3" fmla="*/ 5900 h 8386"/>
                  <a:gd name="connsiteX4" fmla="*/ 4286 w 11144"/>
                  <a:gd name="connsiteY4" fmla="*/ 6757 h 8386"/>
                  <a:gd name="connsiteX5" fmla="*/ 6572 w 11144"/>
                  <a:gd name="connsiteY5" fmla="*/ 375 h 8386"/>
                  <a:gd name="connsiteX6" fmla="*/ 10478 w 11144"/>
                  <a:gd name="connsiteY6" fmla="*/ 1804 h 8386"/>
                  <a:gd name="connsiteX7" fmla="*/ 11144 w 11144"/>
                  <a:gd name="connsiteY7" fmla="*/ 4090 h 8386"/>
                  <a:gd name="connsiteX8" fmla="*/ 10192 w 11144"/>
                  <a:gd name="connsiteY8" fmla="*/ 4090 h 8386"/>
                  <a:gd name="connsiteX9" fmla="*/ 9715 w 11144"/>
                  <a:gd name="connsiteY9" fmla="*/ 2376 h 8386"/>
                  <a:gd name="connsiteX10" fmla="*/ 7334 w 11144"/>
                  <a:gd name="connsiteY10" fmla="*/ 1518 h 8386"/>
                  <a:gd name="connsiteX11" fmla="*/ 5048 w 11144"/>
                  <a:gd name="connsiteY11" fmla="*/ 7996 h 8386"/>
                  <a:gd name="connsiteX12" fmla="*/ 857 w 11144"/>
                  <a:gd name="connsiteY12" fmla="*/ 6471 h 8386"/>
                  <a:gd name="connsiteX13" fmla="*/ 857 w 11144"/>
                  <a:gd name="connsiteY13" fmla="*/ 6471 h 8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44" h="8386">
                    <a:moveTo>
                      <a:pt x="762" y="6471"/>
                    </a:moveTo>
                    <a:cubicBezTo>
                      <a:pt x="286" y="5614"/>
                      <a:pt x="0" y="4662"/>
                      <a:pt x="0" y="3900"/>
                    </a:cubicBezTo>
                    <a:lnTo>
                      <a:pt x="1048" y="3900"/>
                    </a:lnTo>
                    <a:cubicBezTo>
                      <a:pt x="1048" y="4471"/>
                      <a:pt x="1333" y="5233"/>
                      <a:pt x="1714" y="5900"/>
                    </a:cubicBezTo>
                    <a:cubicBezTo>
                      <a:pt x="2381" y="7043"/>
                      <a:pt x="3429" y="7329"/>
                      <a:pt x="4286" y="6757"/>
                    </a:cubicBezTo>
                    <a:cubicBezTo>
                      <a:pt x="6477" y="5519"/>
                      <a:pt x="3620" y="1995"/>
                      <a:pt x="6572" y="375"/>
                    </a:cubicBezTo>
                    <a:cubicBezTo>
                      <a:pt x="8001" y="-482"/>
                      <a:pt x="9525" y="185"/>
                      <a:pt x="10478" y="1804"/>
                    </a:cubicBezTo>
                    <a:cubicBezTo>
                      <a:pt x="10954" y="2566"/>
                      <a:pt x="11144" y="3423"/>
                      <a:pt x="11144" y="4090"/>
                    </a:cubicBezTo>
                    <a:lnTo>
                      <a:pt x="10192" y="4090"/>
                    </a:lnTo>
                    <a:cubicBezTo>
                      <a:pt x="10192" y="4090"/>
                      <a:pt x="10001" y="2947"/>
                      <a:pt x="9715" y="2376"/>
                    </a:cubicBezTo>
                    <a:cubicBezTo>
                      <a:pt x="9144" y="1328"/>
                      <a:pt x="8287" y="1042"/>
                      <a:pt x="7334" y="1518"/>
                    </a:cubicBezTo>
                    <a:cubicBezTo>
                      <a:pt x="5143" y="2757"/>
                      <a:pt x="8096" y="6281"/>
                      <a:pt x="5048" y="7996"/>
                    </a:cubicBezTo>
                    <a:cubicBezTo>
                      <a:pt x="3620" y="8853"/>
                      <a:pt x="1905" y="8281"/>
                      <a:pt x="857" y="6471"/>
                    </a:cubicBezTo>
                    <a:lnTo>
                      <a:pt x="857" y="6471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2" name="Freihandform: Form 427">
                <a:extLst>
                  <a:ext uri="{FF2B5EF4-FFF2-40B4-BE49-F238E27FC236}">
                    <a16:creationId xmlns:a16="http://schemas.microsoft.com/office/drawing/2014/main" id="{DA7EEA5A-A825-A9C7-6509-FBA5153E460A}"/>
                  </a:ext>
                </a:extLst>
              </p:cNvPr>
              <p:cNvSpPr/>
              <p:nvPr/>
            </p:nvSpPr>
            <p:spPr>
              <a:xfrm>
                <a:off x="3909524" y="6819475"/>
                <a:ext cx="10600" cy="7629"/>
              </a:xfrm>
              <a:custGeom>
                <a:avLst/>
                <a:gdLst>
                  <a:gd name="connsiteX0" fmla="*/ 195 w 10600"/>
                  <a:gd name="connsiteY0" fmla="*/ 5820 h 7629"/>
                  <a:gd name="connsiteX1" fmla="*/ 4100 w 10600"/>
                  <a:gd name="connsiteY1" fmla="*/ 391 h 7629"/>
                  <a:gd name="connsiteX2" fmla="*/ 10386 w 10600"/>
                  <a:gd name="connsiteY2" fmla="*/ 2582 h 7629"/>
                  <a:gd name="connsiteX3" fmla="*/ 10386 w 10600"/>
                  <a:gd name="connsiteY3" fmla="*/ 4772 h 7629"/>
                  <a:gd name="connsiteX4" fmla="*/ 9434 w 10600"/>
                  <a:gd name="connsiteY4" fmla="*/ 4772 h 7629"/>
                  <a:gd name="connsiteX5" fmla="*/ 9434 w 10600"/>
                  <a:gd name="connsiteY5" fmla="*/ 3058 h 7629"/>
                  <a:gd name="connsiteX6" fmla="*/ 4481 w 10600"/>
                  <a:gd name="connsiteY6" fmla="*/ 1820 h 7629"/>
                  <a:gd name="connsiteX7" fmla="*/ 1147 w 10600"/>
                  <a:gd name="connsiteY7" fmla="*/ 5630 h 7629"/>
                  <a:gd name="connsiteX8" fmla="*/ 2004 w 10600"/>
                  <a:gd name="connsiteY8" fmla="*/ 6963 h 7629"/>
                  <a:gd name="connsiteX9" fmla="*/ 1243 w 10600"/>
                  <a:gd name="connsiteY9" fmla="*/ 7630 h 7629"/>
                  <a:gd name="connsiteX10" fmla="*/ 100 w 10600"/>
                  <a:gd name="connsiteY10" fmla="*/ 5820 h 7629"/>
                  <a:gd name="connsiteX11" fmla="*/ 100 w 10600"/>
                  <a:gd name="connsiteY11" fmla="*/ 5820 h 7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600" h="7629">
                    <a:moveTo>
                      <a:pt x="195" y="5820"/>
                    </a:moveTo>
                    <a:cubicBezTo>
                      <a:pt x="-663" y="3153"/>
                      <a:pt x="1433" y="1248"/>
                      <a:pt x="4100" y="391"/>
                    </a:cubicBezTo>
                    <a:cubicBezTo>
                      <a:pt x="6767" y="-466"/>
                      <a:pt x="9625" y="10"/>
                      <a:pt x="10386" y="2582"/>
                    </a:cubicBezTo>
                    <a:cubicBezTo>
                      <a:pt x="10672" y="3439"/>
                      <a:pt x="10672" y="4106"/>
                      <a:pt x="10386" y="4772"/>
                    </a:cubicBezTo>
                    <a:lnTo>
                      <a:pt x="9434" y="4772"/>
                    </a:lnTo>
                    <a:cubicBezTo>
                      <a:pt x="9529" y="4201"/>
                      <a:pt x="9529" y="3629"/>
                      <a:pt x="9434" y="3058"/>
                    </a:cubicBezTo>
                    <a:cubicBezTo>
                      <a:pt x="8862" y="1248"/>
                      <a:pt x="6577" y="1153"/>
                      <a:pt x="4481" y="1820"/>
                    </a:cubicBezTo>
                    <a:cubicBezTo>
                      <a:pt x="2386" y="2486"/>
                      <a:pt x="576" y="3820"/>
                      <a:pt x="1147" y="5630"/>
                    </a:cubicBezTo>
                    <a:cubicBezTo>
                      <a:pt x="1338" y="6201"/>
                      <a:pt x="1719" y="6677"/>
                      <a:pt x="2004" y="6963"/>
                    </a:cubicBezTo>
                    <a:lnTo>
                      <a:pt x="1243" y="7630"/>
                    </a:lnTo>
                    <a:cubicBezTo>
                      <a:pt x="766" y="7154"/>
                      <a:pt x="290" y="6582"/>
                      <a:pt x="100" y="5820"/>
                    </a:cubicBezTo>
                    <a:lnTo>
                      <a:pt x="100" y="5820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3" name="Freihandform: Form 428">
                <a:extLst>
                  <a:ext uri="{FF2B5EF4-FFF2-40B4-BE49-F238E27FC236}">
                    <a16:creationId xmlns:a16="http://schemas.microsoft.com/office/drawing/2014/main" id="{CAEF12A3-32B6-13EF-E457-ED1CC77AABD2}"/>
                  </a:ext>
                </a:extLst>
              </p:cNvPr>
              <p:cNvSpPr/>
              <p:nvPr/>
            </p:nvSpPr>
            <p:spPr>
              <a:xfrm>
                <a:off x="3910671" y="6828343"/>
                <a:ext cx="10858" cy="7524"/>
              </a:xfrm>
              <a:custGeom>
                <a:avLst/>
                <a:gdLst>
                  <a:gd name="connsiteX0" fmla="*/ 381 w 10858"/>
                  <a:gd name="connsiteY0" fmla="*/ 6096 h 7524"/>
                  <a:gd name="connsiteX1" fmla="*/ 5239 w 10858"/>
                  <a:gd name="connsiteY1" fmla="*/ 5810 h 7524"/>
                  <a:gd name="connsiteX2" fmla="*/ 5048 w 10858"/>
                  <a:gd name="connsiteY2" fmla="*/ 1715 h 7524"/>
                  <a:gd name="connsiteX3" fmla="*/ 95 w 10858"/>
                  <a:gd name="connsiteY3" fmla="*/ 2096 h 7524"/>
                  <a:gd name="connsiteX4" fmla="*/ 0 w 10858"/>
                  <a:gd name="connsiteY4" fmla="*/ 667 h 7524"/>
                  <a:gd name="connsiteX5" fmla="*/ 10382 w 10858"/>
                  <a:gd name="connsiteY5" fmla="*/ 0 h 7524"/>
                  <a:gd name="connsiteX6" fmla="*/ 10478 w 10858"/>
                  <a:gd name="connsiteY6" fmla="*/ 1429 h 7524"/>
                  <a:gd name="connsiteX7" fmla="*/ 5905 w 10858"/>
                  <a:gd name="connsiteY7" fmla="*/ 1715 h 7524"/>
                  <a:gd name="connsiteX8" fmla="*/ 6191 w 10858"/>
                  <a:gd name="connsiteY8" fmla="*/ 5715 h 7524"/>
                  <a:gd name="connsiteX9" fmla="*/ 10763 w 10858"/>
                  <a:gd name="connsiteY9" fmla="*/ 5429 h 7524"/>
                  <a:gd name="connsiteX10" fmla="*/ 10859 w 10858"/>
                  <a:gd name="connsiteY10" fmla="*/ 6858 h 7524"/>
                  <a:gd name="connsiteX11" fmla="*/ 381 w 10858"/>
                  <a:gd name="connsiteY11" fmla="*/ 7525 h 7524"/>
                  <a:gd name="connsiteX12" fmla="*/ 381 w 10858"/>
                  <a:gd name="connsiteY12" fmla="*/ 6096 h 7524"/>
                  <a:gd name="connsiteX13" fmla="*/ 381 w 10858"/>
                  <a:gd name="connsiteY13" fmla="*/ 6096 h 7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858" h="7524">
                    <a:moveTo>
                      <a:pt x="381" y="6096"/>
                    </a:moveTo>
                    <a:lnTo>
                      <a:pt x="5239" y="5810"/>
                    </a:lnTo>
                    <a:lnTo>
                      <a:pt x="5048" y="1715"/>
                    </a:lnTo>
                    <a:lnTo>
                      <a:pt x="95" y="2096"/>
                    </a:lnTo>
                    <a:lnTo>
                      <a:pt x="0" y="667"/>
                    </a:lnTo>
                    <a:lnTo>
                      <a:pt x="10382" y="0"/>
                    </a:lnTo>
                    <a:lnTo>
                      <a:pt x="10478" y="1429"/>
                    </a:lnTo>
                    <a:lnTo>
                      <a:pt x="5905" y="1715"/>
                    </a:lnTo>
                    <a:lnTo>
                      <a:pt x="6191" y="5715"/>
                    </a:lnTo>
                    <a:lnTo>
                      <a:pt x="10763" y="5429"/>
                    </a:lnTo>
                    <a:lnTo>
                      <a:pt x="10859" y="6858"/>
                    </a:lnTo>
                    <a:lnTo>
                      <a:pt x="381" y="7525"/>
                    </a:lnTo>
                    <a:lnTo>
                      <a:pt x="381" y="6096"/>
                    </a:lnTo>
                    <a:lnTo>
                      <a:pt x="381" y="6096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4" name="Freihandform: Form 429">
                <a:extLst>
                  <a:ext uri="{FF2B5EF4-FFF2-40B4-BE49-F238E27FC236}">
                    <a16:creationId xmlns:a16="http://schemas.microsoft.com/office/drawing/2014/main" id="{A8DF10D7-5DCC-5A3F-6B5E-38FE953F9680}"/>
                  </a:ext>
                </a:extLst>
              </p:cNvPr>
              <p:cNvSpPr/>
              <p:nvPr/>
            </p:nvSpPr>
            <p:spPr>
              <a:xfrm>
                <a:off x="3845374" y="6860076"/>
                <a:ext cx="10052" cy="10462"/>
              </a:xfrm>
              <a:custGeom>
                <a:avLst/>
                <a:gdLst>
                  <a:gd name="connsiteX0" fmla="*/ 1575 w 10052"/>
                  <a:gd name="connsiteY0" fmla="*/ 9224 h 10462"/>
                  <a:gd name="connsiteX1" fmla="*/ 1575 w 10052"/>
                  <a:gd name="connsiteY1" fmla="*/ 2176 h 10462"/>
                  <a:gd name="connsiteX2" fmla="*/ 8623 w 10052"/>
                  <a:gd name="connsiteY2" fmla="*/ 1128 h 10462"/>
                  <a:gd name="connsiteX3" fmla="*/ 10052 w 10052"/>
                  <a:gd name="connsiteY3" fmla="*/ 3128 h 10462"/>
                  <a:gd name="connsiteX4" fmla="*/ 9195 w 10052"/>
                  <a:gd name="connsiteY4" fmla="*/ 3509 h 10462"/>
                  <a:gd name="connsiteX5" fmla="*/ 8052 w 10052"/>
                  <a:gd name="connsiteY5" fmla="*/ 1890 h 10462"/>
                  <a:gd name="connsiteX6" fmla="*/ 2623 w 10052"/>
                  <a:gd name="connsiteY6" fmla="*/ 3128 h 10462"/>
                  <a:gd name="connsiteX7" fmla="*/ 2146 w 10052"/>
                  <a:gd name="connsiteY7" fmla="*/ 8367 h 10462"/>
                  <a:gd name="connsiteX8" fmla="*/ 3385 w 10052"/>
                  <a:gd name="connsiteY8" fmla="*/ 9129 h 10462"/>
                  <a:gd name="connsiteX9" fmla="*/ 5956 w 10052"/>
                  <a:gd name="connsiteY9" fmla="*/ 6176 h 10462"/>
                  <a:gd name="connsiteX10" fmla="*/ 4432 w 10052"/>
                  <a:gd name="connsiteY10" fmla="*/ 4843 h 10462"/>
                  <a:gd name="connsiteX11" fmla="*/ 5004 w 10052"/>
                  <a:gd name="connsiteY11" fmla="*/ 4176 h 10462"/>
                  <a:gd name="connsiteX12" fmla="*/ 7576 w 10052"/>
                  <a:gd name="connsiteY12" fmla="*/ 6367 h 10462"/>
                  <a:gd name="connsiteX13" fmla="*/ 4051 w 10052"/>
                  <a:gd name="connsiteY13" fmla="*/ 10463 h 10462"/>
                  <a:gd name="connsiteX14" fmla="*/ 1575 w 10052"/>
                  <a:gd name="connsiteY14" fmla="*/ 9129 h 10462"/>
                  <a:gd name="connsiteX15" fmla="*/ 1575 w 10052"/>
                  <a:gd name="connsiteY15" fmla="*/ 9129 h 10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052" h="10462">
                    <a:moveTo>
                      <a:pt x="1575" y="9224"/>
                    </a:moveTo>
                    <a:cubicBezTo>
                      <a:pt x="-330" y="7605"/>
                      <a:pt x="-711" y="4938"/>
                      <a:pt x="1575" y="2176"/>
                    </a:cubicBezTo>
                    <a:cubicBezTo>
                      <a:pt x="3670" y="-301"/>
                      <a:pt x="6433" y="-682"/>
                      <a:pt x="8623" y="1128"/>
                    </a:cubicBezTo>
                    <a:cubicBezTo>
                      <a:pt x="9385" y="1795"/>
                      <a:pt x="9861" y="2462"/>
                      <a:pt x="10052" y="3128"/>
                    </a:cubicBezTo>
                    <a:lnTo>
                      <a:pt x="9195" y="3509"/>
                    </a:lnTo>
                    <a:cubicBezTo>
                      <a:pt x="9004" y="2938"/>
                      <a:pt x="8623" y="2366"/>
                      <a:pt x="8052" y="1890"/>
                    </a:cubicBezTo>
                    <a:cubicBezTo>
                      <a:pt x="6433" y="557"/>
                      <a:pt x="4432" y="1033"/>
                      <a:pt x="2623" y="3128"/>
                    </a:cubicBezTo>
                    <a:cubicBezTo>
                      <a:pt x="718" y="5319"/>
                      <a:pt x="908" y="7319"/>
                      <a:pt x="2146" y="8367"/>
                    </a:cubicBezTo>
                    <a:cubicBezTo>
                      <a:pt x="2527" y="8748"/>
                      <a:pt x="3003" y="9034"/>
                      <a:pt x="3385" y="9129"/>
                    </a:cubicBezTo>
                    <a:lnTo>
                      <a:pt x="5956" y="6176"/>
                    </a:lnTo>
                    <a:lnTo>
                      <a:pt x="4432" y="4843"/>
                    </a:lnTo>
                    <a:lnTo>
                      <a:pt x="5004" y="4176"/>
                    </a:lnTo>
                    <a:lnTo>
                      <a:pt x="7576" y="6367"/>
                    </a:lnTo>
                    <a:lnTo>
                      <a:pt x="4051" y="10463"/>
                    </a:lnTo>
                    <a:cubicBezTo>
                      <a:pt x="3289" y="10272"/>
                      <a:pt x="2337" y="9701"/>
                      <a:pt x="1575" y="9129"/>
                    </a:cubicBezTo>
                    <a:lnTo>
                      <a:pt x="1575" y="9129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5" name="Freihandform: Form 430">
                <a:extLst>
                  <a:ext uri="{FF2B5EF4-FFF2-40B4-BE49-F238E27FC236}">
                    <a16:creationId xmlns:a16="http://schemas.microsoft.com/office/drawing/2014/main" id="{F42F9C55-D939-BD28-FBA5-954CC7784EE5}"/>
                  </a:ext>
                </a:extLst>
              </p:cNvPr>
              <p:cNvSpPr/>
              <p:nvPr/>
            </p:nvSpPr>
            <p:spPr>
              <a:xfrm>
                <a:off x="3853045" y="6864157"/>
                <a:ext cx="9239" cy="11525"/>
              </a:xfrm>
              <a:custGeom>
                <a:avLst/>
                <a:gdLst>
                  <a:gd name="connsiteX0" fmla="*/ 0 w 9239"/>
                  <a:gd name="connsiteY0" fmla="*/ 9239 h 11525"/>
                  <a:gd name="connsiteX1" fmla="*/ 4858 w 9239"/>
                  <a:gd name="connsiteY1" fmla="*/ 0 h 11525"/>
                  <a:gd name="connsiteX2" fmla="*/ 9239 w 9239"/>
                  <a:gd name="connsiteY2" fmla="*/ 2286 h 11525"/>
                  <a:gd name="connsiteX3" fmla="*/ 8763 w 9239"/>
                  <a:gd name="connsiteY3" fmla="*/ 3143 h 11525"/>
                  <a:gd name="connsiteX4" fmla="*/ 5620 w 9239"/>
                  <a:gd name="connsiteY4" fmla="*/ 1524 h 11525"/>
                  <a:gd name="connsiteX5" fmla="*/ 4000 w 9239"/>
                  <a:gd name="connsiteY5" fmla="*/ 4763 h 11525"/>
                  <a:gd name="connsiteX6" fmla="*/ 6763 w 9239"/>
                  <a:gd name="connsiteY6" fmla="*/ 6191 h 11525"/>
                  <a:gd name="connsiteX7" fmla="*/ 6382 w 9239"/>
                  <a:gd name="connsiteY7" fmla="*/ 7048 h 11525"/>
                  <a:gd name="connsiteX8" fmla="*/ 3524 w 9239"/>
                  <a:gd name="connsiteY8" fmla="*/ 5525 h 11525"/>
                  <a:gd name="connsiteX9" fmla="*/ 1714 w 9239"/>
                  <a:gd name="connsiteY9" fmla="*/ 9049 h 11525"/>
                  <a:gd name="connsiteX10" fmla="*/ 4858 w 9239"/>
                  <a:gd name="connsiteY10" fmla="*/ 10668 h 11525"/>
                  <a:gd name="connsiteX11" fmla="*/ 4381 w 9239"/>
                  <a:gd name="connsiteY11" fmla="*/ 11525 h 11525"/>
                  <a:gd name="connsiteX12" fmla="*/ 0 w 9239"/>
                  <a:gd name="connsiteY12" fmla="*/ 9239 h 11525"/>
                  <a:gd name="connsiteX13" fmla="*/ 0 w 9239"/>
                  <a:gd name="connsiteY13" fmla="*/ 9239 h 1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239" h="11525">
                    <a:moveTo>
                      <a:pt x="0" y="9239"/>
                    </a:moveTo>
                    <a:lnTo>
                      <a:pt x="4858" y="0"/>
                    </a:lnTo>
                    <a:lnTo>
                      <a:pt x="9239" y="2286"/>
                    </a:lnTo>
                    <a:lnTo>
                      <a:pt x="8763" y="3143"/>
                    </a:lnTo>
                    <a:lnTo>
                      <a:pt x="5620" y="1524"/>
                    </a:lnTo>
                    <a:lnTo>
                      <a:pt x="4000" y="4763"/>
                    </a:lnTo>
                    <a:lnTo>
                      <a:pt x="6763" y="6191"/>
                    </a:lnTo>
                    <a:lnTo>
                      <a:pt x="6382" y="7048"/>
                    </a:lnTo>
                    <a:lnTo>
                      <a:pt x="3524" y="5525"/>
                    </a:lnTo>
                    <a:lnTo>
                      <a:pt x="1714" y="9049"/>
                    </a:lnTo>
                    <a:lnTo>
                      <a:pt x="4858" y="10668"/>
                    </a:lnTo>
                    <a:lnTo>
                      <a:pt x="4381" y="11525"/>
                    </a:lnTo>
                    <a:lnTo>
                      <a:pt x="0" y="9239"/>
                    </a:lnTo>
                    <a:lnTo>
                      <a:pt x="0" y="9239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6" name="Freihandform: Form 431">
                <a:extLst>
                  <a:ext uri="{FF2B5EF4-FFF2-40B4-BE49-F238E27FC236}">
                    <a16:creationId xmlns:a16="http://schemas.microsoft.com/office/drawing/2014/main" id="{800A66FD-86A6-7909-183B-D30229AA13A4}"/>
                  </a:ext>
                </a:extLst>
              </p:cNvPr>
              <p:cNvSpPr/>
              <p:nvPr/>
            </p:nvSpPr>
            <p:spPr>
              <a:xfrm>
                <a:off x="3862951" y="6867300"/>
                <a:ext cx="6381" cy="11048"/>
              </a:xfrm>
              <a:custGeom>
                <a:avLst/>
                <a:gdLst>
                  <a:gd name="connsiteX0" fmla="*/ 4001 w 6381"/>
                  <a:gd name="connsiteY0" fmla="*/ 1905 h 11048"/>
                  <a:gd name="connsiteX1" fmla="*/ 1429 w 6381"/>
                  <a:gd name="connsiteY1" fmla="*/ 11049 h 11048"/>
                  <a:gd name="connsiteX2" fmla="*/ 0 w 6381"/>
                  <a:gd name="connsiteY2" fmla="*/ 10668 h 11048"/>
                  <a:gd name="connsiteX3" fmla="*/ 2572 w 6381"/>
                  <a:gd name="connsiteY3" fmla="*/ 1524 h 11048"/>
                  <a:gd name="connsiteX4" fmla="*/ 476 w 6381"/>
                  <a:gd name="connsiteY4" fmla="*/ 952 h 11048"/>
                  <a:gd name="connsiteX5" fmla="*/ 667 w 6381"/>
                  <a:gd name="connsiteY5" fmla="*/ 0 h 11048"/>
                  <a:gd name="connsiteX6" fmla="*/ 6382 w 6381"/>
                  <a:gd name="connsiteY6" fmla="*/ 1619 h 11048"/>
                  <a:gd name="connsiteX7" fmla="*/ 6191 w 6381"/>
                  <a:gd name="connsiteY7" fmla="*/ 2572 h 11048"/>
                  <a:gd name="connsiteX8" fmla="*/ 4001 w 6381"/>
                  <a:gd name="connsiteY8" fmla="*/ 1905 h 11048"/>
                  <a:gd name="connsiteX9" fmla="*/ 4001 w 6381"/>
                  <a:gd name="connsiteY9" fmla="*/ 1905 h 11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81" h="11048">
                    <a:moveTo>
                      <a:pt x="4001" y="1905"/>
                    </a:moveTo>
                    <a:lnTo>
                      <a:pt x="1429" y="11049"/>
                    </a:lnTo>
                    <a:lnTo>
                      <a:pt x="0" y="10668"/>
                    </a:lnTo>
                    <a:lnTo>
                      <a:pt x="2572" y="1524"/>
                    </a:lnTo>
                    <a:lnTo>
                      <a:pt x="476" y="952"/>
                    </a:lnTo>
                    <a:lnTo>
                      <a:pt x="667" y="0"/>
                    </a:lnTo>
                    <a:lnTo>
                      <a:pt x="6382" y="1619"/>
                    </a:lnTo>
                    <a:lnTo>
                      <a:pt x="6191" y="2572"/>
                    </a:lnTo>
                    <a:lnTo>
                      <a:pt x="4001" y="1905"/>
                    </a:lnTo>
                    <a:lnTo>
                      <a:pt x="4001" y="1905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7" name="Freihandform: Form 432">
                <a:extLst>
                  <a:ext uri="{FF2B5EF4-FFF2-40B4-BE49-F238E27FC236}">
                    <a16:creationId xmlns:a16="http://schemas.microsoft.com/office/drawing/2014/main" id="{032CCD1A-892D-ED95-E596-2FFDB1540B24}"/>
                  </a:ext>
                </a:extLst>
              </p:cNvPr>
              <p:cNvSpPr/>
              <p:nvPr/>
            </p:nvSpPr>
            <p:spPr>
              <a:xfrm>
                <a:off x="3870286" y="6868824"/>
                <a:ext cx="5715" cy="10763"/>
              </a:xfrm>
              <a:custGeom>
                <a:avLst/>
                <a:gdLst>
                  <a:gd name="connsiteX0" fmla="*/ 0 w 5715"/>
                  <a:gd name="connsiteY0" fmla="*/ 10382 h 10763"/>
                  <a:gd name="connsiteX1" fmla="*/ 762 w 5715"/>
                  <a:gd name="connsiteY1" fmla="*/ 0 h 10763"/>
                  <a:gd name="connsiteX2" fmla="*/ 5715 w 5715"/>
                  <a:gd name="connsiteY2" fmla="*/ 381 h 10763"/>
                  <a:gd name="connsiteX3" fmla="*/ 5620 w 5715"/>
                  <a:gd name="connsiteY3" fmla="*/ 1333 h 10763"/>
                  <a:gd name="connsiteX4" fmla="*/ 2096 w 5715"/>
                  <a:gd name="connsiteY4" fmla="*/ 1048 h 10763"/>
                  <a:gd name="connsiteX5" fmla="*/ 1810 w 5715"/>
                  <a:gd name="connsiteY5" fmla="*/ 4667 h 10763"/>
                  <a:gd name="connsiteX6" fmla="*/ 5048 w 5715"/>
                  <a:gd name="connsiteY6" fmla="*/ 4953 h 10763"/>
                  <a:gd name="connsiteX7" fmla="*/ 4953 w 5715"/>
                  <a:gd name="connsiteY7" fmla="*/ 5810 h 10763"/>
                  <a:gd name="connsiteX8" fmla="*/ 1810 w 5715"/>
                  <a:gd name="connsiteY8" fmla="*/ 5620 h 10763"/>
                  <a:gd name="connsiteX9" fmla="*/ 1429 w 5715"/>
                  <a:gd name="connsiteY9" fmla="*/ 9525 h 10763"/>
                  <a:gd name="connsiteX10" fmla="*/ 4953 w 5715"/>
                  <a:gd name="connsiteY10" fmla="*/ 9811 h 10763"/>
                  <a:gd name="connsiteX11" fmla="*/ 4953 w 5715"/>
                  <a:gd name="connsiteY11" fmla="*/ 10763 h 10763"/>
                  <a:gd name="connsiteX12" fmla="*/ 0 w 5715"/>
                  <a:gd name="connsiteY12" fmla="*/ 10382 h 10763"/>
                  <a:gd name="connsiteX13" fmla="*/ 0 w 5715"/>
                  <a:gd name="connsiteY13" fmla="*/ 10382 h 10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715" h="10763">
                    <a:moveTo>
                      <a:pt x="0" y="10382"/>
                    </a:moveTo>
                    <a:lnTo>
                      <a:pt x="762" y="0"/>
                    </a:lnTo>
                    <a:lnTo>
                      <a:pt x="5715" y="381"/>
                    </a:lnTo>
                    <a:lnTo>
                      <a:pt x="5620" y="1333"/>
                    </a:lnTo>
                    <a:lnTo>
                      <a:pt x="2096" y="1048"/>
                    </a:lnTo>
                    <a:lnTo>
                      <a:pt x="1810" y="4667"/>
                    </a:lnTo>
                    <a:lnTo>
                      <a:pt x="5048" y="4953"/>
                    </a:lnTo>
                    <a:lnTo>
                      <a:pt x="4953" y="5810"/>
                    </a:lnTo>
                    <a:lnTo>
                      <a:pt x="1810" y="5620"/>
                    </a:lnTo>
                    <a:lnTo>
                      <a:pt x="1429" y="9525"/>
                    </a:lnTo>
                    <a:lnTo>
                      <a:pt x="4953" y="9811"/>
                    </a:lnTo>
                    <a:lnTo>
                      <a:pt x="4953" y="10763"/>
                    </a:lnTo>
                    <a:lnTo>
                      <a:pt x="0" y="10382"/>
                    </a:lnTo>
                    <a:lnTo>
                      <a:pt x="0" y="10382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8" name="Freihandform: Form 433">
                <a:extLst>
                  <a:ext uri="{FF2B5EF4-FFF2-40B4-BE49-F238E27FC236}">
                    <a16:creationId xmlns:a16="http://schemas.microsoft.com/office/drawing/2014/main" id="{42FD0B4B-19DC-1DE4-E16A-7AC6450DBF10}"/>
                  </a:ext>
                </a:extLst>
              </p:cNvPr>
              <p:cNvSpPr/>
              <p:nvPr/>
            </p:nvSpPr>
            <p:spPr>
              <a:xfrm>
                <a:off x="3877980" y="6868693"/>
                <a:ext cx="6613" cy="10798"/>
              </a:xfrm>
              <a:custGeom>
                <a:avLst/>
                <a:gdLst>
                  <a:gd name="connsiteX0" fmla="*/ 3449 w 6613"/>
                  <a:gd name="connsiteY0" fmla="*/ 10704 h 10798"/>
                  <a:gd name="connsiteX1" fmla="*/ 782 w 6613"/>
                  <a:gd name="connsiteY1" fmla="*/ 10513 h 10798"/>
                  <a:gd name="connsiteX2" fmla="*/ 1068 w 6613"/>
                  <a:gd name="connsiteY2" fmla="*/ 9561 h 10798"/>
                  <a:gd name="connsiteX3" fmla="*/ 3259 w 6613"/>
                  <a:gd name="connsiteY3" fmla="*/ 9751 h 10798"/>
                  <a:gd name="connsiteX4" fmla="*/ 5069 w 6613"/>
                  <a:gd name="connsiteY4" fmla="*/ 7751 h 10798"/>
                  <a:gd name="connsiteX5" fmla="*/ 21 w 6613"/>
                  <a:gd name="connsiteY5" fmla="*/ 3179 h 10798"/>
                  <a:gd name="connsiteX6" fmla="*/ 2878 w 6613"/>
                  <a:gd name="connsiteY6" fmla="*/ 36 h 10798"/>
                  <a:gd name="connsiteX7" fmla="*/ 5259 w 6613"/>
                  <a:gd name="connsiteY7" fmla="*/ 322 h 10798"/>
                  <a:gd name="connsiteX8" fmla="*/ 4973 w 6613"/>
                  <a:gd name="connsiteY8" fmla="*/ 1179 h 10798"/>
                  <a:gd name="connsiteX9" fmla="*/ 3164 w 6613"/>
                  <a:gd name="connsiteY9" fmla="*/ 988 h 10798"/>
                  <a:gd name="connsiteX10" fmla="*/ 1449 w 6613"/>
                  <a:gd name="connsiteY10" fmla="*/ 2893 h 10798"/>
                  <a:gd name="connsiteX11" fmla="*/ 6593 w 6613"/>
                  <a:gd name="connsiteY11" fmla="*/ 7465 h 10798"/>
                  <a:gd name="connsiteX12" fmla="*/ 3640 w 6613"/>
                  <a:gd name="connsiteY12" fmla="*/ 10799 h 10798"/>
                  <a:gd name="connsiteX13" fmla="*/ 3640 w 6613"/>
                  <a:gd name="connsiteY13" fmla="*/ 10799 h 107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613" h="10798">
                    <a:moveTo>
                      <a:pt x="3449" y="10704"/>
                    </a:moveTo>
                    <a:cubicBezTo>
                      <a:pt x="2402" y="10799"/>
                      <a:pt x="1449" y="10704"/>
                      <a:pt x="782" y="10513"/>
                    </a:cubicBezTo>
                    <a:lnTo>
                      <a:pt x="1068" y="9561"/>
                    </a:lnTo>
                    <a:cubicBezTo>
                      <a:pt x="1640" y="9847"/>
                      <a:pt x="2497" y="9847"/>
                      <a:pt x="3259" y="9751"/>
                    </a:cubicBezTo>
                    <a:cubicBezTo>
                      <a:pt x="4593" y="9561"/>
                      <a:pt x="5164" y="8703"/>
                      <a:pt x="5069" y="7751"/>
                    </a:cubicBezTo>
                    <a:cubicBezTo>
                      <a:pt x="4783" y="5179"/>
                      <a:pt x="402" y="6513"/>
                      <a:pt x="21" y="3179"/>
                    </a:cubicBezTo>
                    <a:cubicBezTo>
                      <a:pt x="-170" y="1560"/>
                      <a:pt x="973" y="322"/>
                      <a:pt x="2878" y="36"/>
                    </a:cubicBezTo>
                    <a:cubicBezTo>
                      <a:pt x="3735" y="-60"/>
                      <a:pt x="4593" y="36"/>
                      <a:pt x="5259" y="322"/>
                    </a:cubicBezTo>
                    <a:lnTo>
                      <a:pt x="4973" y="1179"/>
                    </a:lnTo>
                    <a:cubicBezTo>
                      <a:pt x="4497" y="988"/>
                      <a:pt x="3735" y="893"/>
                      <a:pt x="3164" y="988"/>
                    </a:cubicBezTo>
                    <a:cubicBezTo>
                      <a:pt x="2021" y="1179"/>
                      <a:pt x="1354" y="1845"/>
                      <a:pt x="1449" y="2893"/>
                    </a:cubicBezTo>
                    <a:cubicBezTo>
                      <a:pt x="1735" y="5370"/>
                      <a:pt x="6116" y="4036"/>
                      <a:pt x="6593" y="7465"/>
                    </a:cubicBezTo>
                    <a:cubicBezTo>
                      <a:pt x="6783" y="9084"/>
                      <a:pt x="5640" y="10513"/>
                      <a:pt x="3640" y="10799"/>
                    </a:cubicBezTo>
                    <a:lnTo>
                      <a:pt x="3640" y="10799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9" name="Freihandform: Form 434">
                <a:extLst>
                  <a:ext uri="{FF2B5EF4-FFF2-40B4-BE49-F238E27FC236}">
                    <a16:creationId xmlns:a16="http://schemas.microsoft.com/office/drawing/2014/main" id="{72F20936-D43D-7297-0C0E-CB2FC0404AF2}"/>
                  </a:ext>
                </a:extLst>
              </p:cNvPr>
              <p:cNvSpPr/>
              <p:nvPr/>
            </p:nvSpPr>
            <p:spPr>
              <a:xfrm>
                <a:off x="3884954" y="6866157"/>
                <a:ext cx="6953" cy="11049"/>
              </a:xfrm>
              <a:custGeom>
                <a:avLst/>
                <a:gdLst>
                  <a:gd name="connsiteX0" fmla="*/ 3810 w 6953"/>
                  <a:gd name="connsiteY0" fmla="*/ 1619 h 11049"/>
                  <a:gd name="connsiteX1" fmla="*/ 6953 w 6953"/>
                  <a:gd name="connsiteY1" fmla="*/ 10573 h 11049"/>
                  <a:gd name="connsiteX2" fmla="*/ 5620 w 6953"/>
                  <a:gd name="connsiteY2" fmla="*/ 11049 h 11049"/>
                  <a:gd name="connsiteX3" fmla="*/ 2476 w 6953"/>
                  <a:gd name="connsiteY3" fmla="*/ 2096 h 11049"/>
                  <a:gd name="connsiteX4" fmla="*/ 381 w 6953"/>
                  <a:gd name="connsiteY4" fmla="*/ 2858 h 11049"/>
                  <a:gd name="connsiteX5" fmla="*/ 0 w 6953"/>
                  <a:gd name="connsiteY5" fmla="*/ 2000 h 11049"/>
                  <a:gd name="connsiteX6" fmla="*/ 5620 w 6953"/>
                  <a:gd name="connsiteY6" fmla="*/ 0 h 11049"/>
                  <a:gd name="connsiteX7" fmla="*/ 6001 w 6953"/>
                  <a:gd name="connsiteY7" fmla="*/ 857 h 11049"/>
                  <a:gd name="connsiteX8" fmla="*/ 3810 w 6953"/>
                  <a:gd name="connsiteY8" fmla="*/ 1619 h 11049"/>
                  <a:gd name="connsiteX9" fmla="*/ 3810 w 6953"/>
                  <a:gd name="connsiteY9" fmla="*/ 1619 h 11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953" h="11049">
                    <a:moveTo>
                      <a:pt x="3810" y="1619"/>
                    </a:moveTo>
                    <a:lnTo>
                      <a:pt x="6953" y="10573"/>
                    </a:lnTo>
                    <a:lnTo>
                      <a:pt x="5620" y="11049"/>
                    </a:lnTo>
                    <a:lnTo>
                      <a:pt x="2476" y="2096"/>
                    </a:lnTo>
                    <a:lnTo>
                      <a:pt x="381" y="2858"/>
                    </a:lnTo>
                    <a:lnTo>
                      <a:pt x="0" y="2000"/>
                    </a:lnTo>
                    <a:lnTo>
                      <a:pt x="5620" y="0"/>
                    </a:lnTo>
                    <a:lnTo>
                      <a:pt x="6001" y="857"/>
                    </a:lnTo>
                    <a:lnTo>
                      <a:pt x="3810" y="1619"/>
                    </a:lnTo>
                    <a:lnTo>
                      <a:pt x="3810" y="1619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0" name="Freihandform: Form 435">
                <a:extLst>
                  <a:ext uri="{FF2B5EF4-FFF2-40B4-BE49-F238E27FC236}">
                    <a16:creationId xmlns:a16="http://schemas.microsoft.com/office/drawing/2014/main" id="{B33FA70B-E638-2194-C359-491801BDE8C4}"/>
                  </a:ext>
                </a:extLst>
              </p:cNvPr>
              <p:cNvSpPr/>
              <p:nvPr/>
            </p:nvSpPr>
            <p:spPr>
              <a:xfrm>
                <a:off x="3892193" y="6862919"/>
                <a:ext cx="9620" cy="11525"/>
              </a:xfrm>
              <a:custGeom>
                <a:avLst/>
                <a:gdLst>
                  <a:gd name="connsiteX0" fmla="*/ 5334 w 9620"/>
                  <a:gd name="connsiteY0" fmla="*/ 11525 h 11525"/>
                  <a:gd name="connsiteX1" fmla="*/ 0 w 9620"/>
                  <a:gd name="connsiteY1" fmla="*/ 2572 h 11525"/>
                  <a:gd name="connsiteX2" fmla="*/ 4286 w 9620"/>
                  <a:gd name="connsiteY2" fmla="*/ 0 h 11525"/>
                  <a:gd name="connsiteX3" fmla="*/ 4763 w 9620"/>
                  <a:gd name="connsiteY3" fmla="*/ 857 h 11525"/>
                  <a:gd name="connsiteX4" fmla="*/ 1714 w 9620"/>
                  <a:gd name="connsiteY4" fmla="*/ 2667 h 11525"/>
                  <a:gd name="connsiteX5" fmla="*/ 3620 w 9620"/>
                  <a:gd name="connsiteY5" fmla="*/ 5715 h 11525"/>
                  <a:gd name="connsiteX6" fmla="*/ 6287 w 9620"/>
                  <a:gd name="connsiteY6" fmla="*/ 4096 h 11525"/>
                  <a:gd name="connsiteX7" fmla="*/ 6763 w 9620"/>
                  <a:gd name="connsiteY7" fmla="*/ 4953 h 11525"/>
                  <a:gd name="connsiteX8" fmla="*/ 4001 w 9620"/>
                  <a:gd name="connsiteY8" fmla="*/ 6572 h 11525"/>
                  <a:gd name="connsiteX9" fmla="*/ 6096 w 9620"/>
                  <a:gd name="connsiteY9" fmla="*/ 10001 h 11525"/>
                  <a:gd name="connsiteX10" fmla="*/ 9144 w 9620"/>
                  <a:gd name="connsiteY10" fmla="*/ 8191 h 11525"/>
                  <a:gd name="connsiteX11" fmla="*/ 9620 w 9620"/>
                  <a:gd name="connsiteY11" fmla="*/ 8953 h 11525"/>
                  <a:gd name="connsiteX12" fmla="*/ 5334 w 9620"/>
                  <a:gd name="connsiteY12" fmla="*/ 11525 h 11525"/>
                  <a:gd name="connsiteX13" fmla="*/ 5334 w 9620"/>
                  <a:gd name="connsiteY13" fmla="*/ 11525 h 1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620" h="11525">
                    <a:moveTo>
                      <a:pt x="5334" y="11525"/>
                    </a:moveTo>
                    <a:lnTo>
                      <a:pt x="0" y="2572"/>
                    </a:lnTo>
                    <a:lnTo>
                      <a:pt x="4286" y="0"/>
                    </a:lnTo>
                    <a:lnTo>
                      <a:pt x="4763" y="857"/>
                    </a:lnTo>
                    <a:lnTo>
                      <a:pt x="1714" y="2667"/>
                    </a:lnTo>
                    <a:lnTo>
                      <a:pt x="3620" y="5715"/>
                    </a:lnTo>
                    <a:lnTo>
                      <a:pt x="6287" y="4096"/>
                    </a:lnTo>
                    <a:lnTo>
                      <a:pt x="6763" y="4953"/>
                    </a:lnTo>
                    <a:lnTo>
                      <a:pt x="4001" y="6572"/>
                    </a:lnTo>
                    <a:lnTo>
                      <a:pt x="6096" y="10001"/>
                    </a:lnTo>
                    <a:lnTo>
                      <a:pt x="9144" y="8191"/>
                    </a:lnTo>
                    <a:lnTo>
                      <a:pt x="9620" y="8953"/>
                    </a:lnTo>
                    <a:lnTo>
                      <a:pt x="5334" y="11525"/>
                    </a:lnTo>
                    <a:lnTo>
                      <a:pt x="5334" y="11525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1" name="Freihandform: Form 436">
                <a:extLst>
                  <a:ext uri="{FF2B5EF4-FFF2-40B4-BE49-F238E27FC236}">
                    <a16:creationId xmlns:a16="http://schemas.microsoft.com/office/drawing/2014/main" id="{EA4AFE85-0E8D-C483-190B-3220AF7FEE19}"/>
                  </a:ext>
                </a:extLst>
              </p:cNvPr>
              <p:cNvSpPr/>
              <p:nvPr/>
            </p:nvSpPr>
            <p:spPr>
              <a:xfrm>
                <a:off x="3897432" y="6858061"/>
                <a:ext cx="9810" cy="10191"/>
              </a:xfrm>
              <a:custGeom>
                <a:avLst/>
                <a:gdLst>
                  <a:gd name="connsiteX0" fmla="*/ 3429 w 9810"/>
                  <a:gd name="connsiteY0" fmla="*/ 2286 h 10191"/>
                  <a:gd name="connsiteX1" fmla="*/ 9811 w 9810"/>
                  <a:gd name="connsiteY1" fmla="*/ 9239 h 10191"/>
                  <a:gd name="connsiteX2" fmla="*/ 8667 w 9810"/>
                  <a:gd name="connsiteY2" fmla="*/ 10192 h 10191"/>
                  <a:gd name="connsiteX3" fmla="*/ 2381 w 9810"/>
                  <a:gd name="connsiteY3" fmla="*/ 3238 h 10191"/>
                  <a:gd name="connsiteX4" fmla="*/ 667 w 9810"/>
                  <a:gd name="connsiteY4" fmla="*/ 4763 h 10191"/>
                  <a:gd name="connsiteX5" fmla="*/ 0 w 9810"/>
                  <a:gd name="connsiteY5" fmla="*/ 4000 h 10191"/>
                  <a:gd name="connsiteX6" fmla="*/ 4477 w 9810"/>
                  <a:gd name="connsiteY6" fmla="*/ 0 h 10191"/>
                  <a:gd name="connsiteX7" fmla="*/ 5048 w 9810"/>
                  <a:gd name="connsiteY7" fmla="*/ 762 h 10191"/>
                  <a:gd name="connsiteX8" fmla="*/ 3429 w 9810"/>
                  <a:gd name="connsiteY8" fmla="*/ 2286 h 10191"/>
                  <a:gd name="connsiteX9" fmla="*/ 3429 w 9810"/>
                  <a:gd name="connsiteY9" fmla="*/ 2286 h 10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810" h="10191">
                    <a:moveTo>
                      <a:pt x="3429" y="2286"/>
                    </a:moveTo>
                    <a:lnTo>
                      <a:pt x="9811" y="9239"/>
                    </a:lnTo>
                    <a:lnTo>
                      <a:pt x="8667" y="10192"/>
                    </a:lnTo>
                    <a:lnTo>
                      <a:pt x="2381" y="3238"/>
                    </a:lnTo>
                    <a:lnTo>
                      <a:pt x="667" y="4763"/>
                    </a:lnTo>
                    <a:lnTo>
                      <a:pt x="0" y="4000"/>
                    </a:lnTo>
                    <a:lnTo>
                      <a:pt x="4477" y="0"/>
                    </a:lnTo>
                    <a:lnTo>
                      <a:pt x="5048" y="762"/>
                    </a:lnTo>
                    <a:lnTo>
                      <a:pt x="3429" y="2286"/>
                    </a:lnTo>
                    <a:lnTo>
                      <a:pt x="3429" y="2286"/>
                    </a:lnTo>
                    <a:close/>
                  </a:path>
                </a:pathLst>
              </a:custGeom>
              <a:solidFill>
                <a:srgbClr val="1D1D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C9E72CE4-D2FB-4BB6-F3E1-CB1E0FC4CB5E}"/>
                </a:ext>
              </a:extLst>
            </p:cNvPr>
            <p:cNvGrpSpPr/>
            <p:nvPr/>
          </p:nvGrpSpPr>
          <p:grpSpPr>
            <a:xfrm>
              <a:off x="564253" y="6595076"/>
              <a:ext cx="600265" cy="166400"/>
              <a:chOff x="564253" y="6595076"/>
              <a:chExt cx="600265" cy="166400"/>
            </a:xfrm>
          </p:grpSpPr>
          <p:sp>
            <p:nvSpPr>
              <p:cNvPr id="59" name="Freihandform: Form 389">
                <a:extLst>
                  <a:ext uri="{FF2B5EF4-FFF2-40B4-BE49-F238E27FC236}">
                    <a16:creationId xmlns:a16="http://schemas.microsoft.com/office/drawing/2014/main" id="{C95DD0BB-2866-08C8-BD5B-FB8F4A997592}"/>
                  </a:ext>
                </a:extLst>
              </p:cNvPr>
              <p:cNvSpPr/>
              <p:nvPr/>
            </p:nvSpPr>
            <p:spPr>
              <a:xfrm>
                <a:off x="632738" y="6634985"/>
                <a:ext cx="56292" cy="100869"/>
              </a:xfrm>
              <a:custGeom>
                <a:avLst/>
                <a:gdLst>
                  <a:gd name="connsiteX0" fmla="*/ 18955 w 56292"/>
                  <a:gd name="connsiteY0" fmla="*/ 69723 h 100869"/>
                  <a:gd name="connsiteX1" fmla="*/ 28194 w 56292"/>
                  <a:gd name="connsiteY1" fmla="*/ 80963 h 100869"/>
                  <a:gd name="connsiteX2" fmla="*/ 37433 w 56292"/>
                  <a:gd name="connsiteY2" fmla="*/ 69723 h 100869"/>
                  <a:gd name="connsiteX3" fmla="*/ 37433 w 56292"/>
                  <a:gd name="connsiteY3" fmla="*/ 31051 h 100869"/>
                  <a:gd name="connsiteX4" fmla="*/ 28194 w 56292"/>
                  <a:gd name="connsiteY4" fmla="*/ 19812 h 100869"/>
                  <a:gd name="connsiteX5" fmla="*/ 18955 w 56292"/>
                  <a:gd name="connsiteY5" fmla="*/ 31051 h 100869"/>
                  <a:gd name="connsiteX6" fmla="*/ 18955 w 56292"/>
                  <a:gd name="connsiteY6" fmla="*/ 69723 h 100869"/>
                  <a:gd name="connsiteX7" fmla="*/ 18955 w 56292"/>
                  <a:gd name="connsiteY7" fmla="*/ 69723 h 100869"/>
                  <a:gd name="connsiteX8" fmla="*/ 0 w 56292"/>
                  <a:gd name="connsiteY8" fmla="*/ 34195 h 100869"/>
                  <a:gd name="connsiteX9" fmla="*/ 3524 w 56292"/>
                  <a:gd name="connsiteY9" fmla="*/ 14192 h 100869"/>
                  <a:gd name="connsiteX10" fmla="*/ 28194 w 56292"/>
                  <a:gd name="connsiteY10" fmla="*/ 0 h 100869"/>
                  <a:gd name="connsiteX11" fmla="*/ 52864 w 56292"/>
                  <a:gd name="connsiteY11" fmla="*/ 14192 h 100869"/>
                  <a:gd name="connsiteX12" fmla="*/ 56293 w 56292"/>
                  <a:gd name="connsiteY12" fmla="*/ 34195 h 100869"/>
                  <a:gd name="connsiteX13" fmla="*/ 56293 w 56292"/>
                  <a:gd name="connsiteY13" fmla="*/ 66675 h 100869"/>
                  <a:gd name="connsiteX14" fmla="*/ 52864 w 56292"/>
                  <a:gd name="connsiteY14" fmla="*/ 86677 h 100869"/>
                  <a:gd name="connsiteX15" fmla="*/ 28194 w 56292"/>
                  <a:gd name="connsiteY15" fmla="*/ 100870 h 100869"/>
                  <a:gd name="connsiteX16" fmla="*/ 3524 w 56292"/>
                  <a:gd name="connsiteY16" fmla="*/ 86677 h 100869"/>
                  <a:gd name="connsiteX17" fmla="*/ 0 w 56292"/>
                  <a:gd name="connsiteY17" fmla="*/ 66675 h 100869"/>
                  <a:gd name="connsiteX18" fmla="*/ 0 w 56292"/>
                  <a:gd name="connsiteY18" fmla="*/ 34195 h 100869"/>
                  <a:gd name="connsiteX19" fmla="*/ 0 w 56292"/>
                  <a:gd name="connsiteY19" fmla="*/ 34195 h 100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6292" h="100869">
                    <a:moveTo>
                      <a:pt x="18955" y="69723"/>
                    </a:moveTo>
                    <a:cubicBezTo>
                      <a:pt x="18955" y="77152"/>
                      <a:pt x="22479" y="80963"/>
                      <a:pt x="28194" y="80963"/>
                    </a:cubicBezTo>
                    <a:cubicBezTo>
                      <a:pt x="33909" y="80963"/>
                      <a:pt x="37433" y="77057"/>
                      <a:pt x="37433" y="69723"/>
                    </a:cubicBezTo>
                    <a:lnTo>
                      <a:pt x="37433" y="31051"/>
                    </a:lnTo>
                    <a:cubicBezTo>
                      <a:pt x="37433" y="23622"/>
                      <a:pt x="34004" y="19812"/>
                      <a:pt x="28194" y="19812"/>
                    </a:cubicBezTo>
                    <a:cubicBezTo>
                      <a:pt x="22384" y="19812"/>
                      <a:pt x="18955" y="23717"/>
                      <a:pt x="18955" y="31051"/>
                    </a:cubicBezTo>
                    <a:lnTo>
                      <a:pt x="18955" y="69723"/>
                    </a:lnTo>
                    <a:lnTo>
                      <a:pt x="18955" y="69723"/>
                    </a:lnTo>
                    <a:close/>
                    <a:moveTo>
                      <a:pt x="0" y="34195"/>
                    </a:moveTo>
                    <a:cubicBezTo>
                      <a:pt x="0" y="26194"/>
                      <a:pt x="953" y="19240"/>
                      <a:pt x="3524" y="14192"/>
                    </a:cubicBezTo>
                    <a:cubicBezTo>
                      <a:pt x="7906" y="5620"/>
                      <a:pt x="16669" y="0"/>
                      <a:pt x="28194" y="0"/>
                    </a:cubicBezTo>
                    <a:cubicBezTo>
                      <a:pt x="39719" y="0"/>
                      <a:pt x="48387" y="5620"/>
                      <a:pt x="52864" y="14192"/>
                    </a:cubicBezTo>
                    <a:cubicBezTo>
                      <a:pt x="55435" y="19240"/>
                      <a:pt x="56293" y="26289"/>
                      <a:pt x="56293" y="34195"/>
                    </a:cubicBezTo>
                    <a:lnTo>
                      <a:pt x="56293" y="66675"/>
                    </a:lnTo>
                    <a:cubicBezTo>
                      <a:pt x="56293" y="74676"/>
                      <a:pt x="55435" y="81629"/>
                      <a:pt x="52864" y="86677"/>
                    </a:cubicBezTo>
                    <a:cubicBezTo>
                      <a:pt x="48387" y="95250"/>
                      <a:pt x="39719" y="100870"/>
                      <a:pt x="28194" y="100870"/>
                    </a:cubicBezTo>
                    <a:cubicBezTo>
                      <a:pt x="16669" y="100870"/>
                      <a:pt x="8001" y="95250"/>
                      <a:pt x="3524" y="86677"/>
                    </a:cubicBezTo>
                    <a:cubicBezTo>
                      <a:pt x="953" y="81629"/>
                      <a:pt x="0" y="74676"/>
                      <a:pt x="0" y="66675"/>
                    </a:cubicBezTo>
                    <a:lnTo>
                      <a:pt x="0" y="34195"/>
                    </a:lnTo>
                    <a:lnTo>
                      <a:pt x="0" y="34195"/>
                    </a:lnTo>
                    <a:close/>
                  </a:path>
                </a:pathLst>
              </a:custGeom>
              <a:solidFill>
                <a:srgbClr val="2832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" name="Freihandform: Form 390">
                <a:extLst>
                  <a:ext uri="{FF2B5EF4-FFF2-40B4-BE49-F238E27FC236}">
                    <a16:creationId xmlns:a16="http://schemas.microsoft.com/office/drawing/2014/main" id="{4585BA66-63E2-729F-490A-B34F9F272389}"/>
                  </a:ext>
                </a:extLst>
              </p:cNvPr>
              <p:cNvSpPr/>
              <p:nvPr/>
            </p:nvSpPr>
            <p:spPr>
              <a:xfrm>
                <a:off x="961446" y="6634985"/>
                <a:ext cx="56292" cy="100869"/>
              </a:xfrm>
              <a:custGeom>
                <a:avLst/>
                <a:gdLst>
                  <a:gd name="connsiteX0" fmla="*/ 18860 w 56292"/>
                  <a:gd name="connsiteY0" fmla="*/ 69723 h 100869"/>
                  <a:gd name="connsiteX1" fmla="*/ 28194 w 56292"/>
                  <a:gd name="connsiteY1" fmla="*/ 80963 h 100869"/>
                  <a:gd name="connsiteX2" fmla="*/ 37433 w 56292"/>
                  <a:gd name="connsiteY2" fmla="*/ 69723 h 100869"/>
                  <a:gd name="connsiteX3" fmla="*/ 37433 w 56292"/>
                  <a:gd name="connsiteY3" fmla="*/ 31051 h 100869"/>
                  <a:gd name="connsiteX4" fmla="*/ 28194 w 56292"/>
                  <a:gd name="connsiteY4" fmla="*/ 19812 h 100869"/>
                  <a:gd name="connsiteX5" fmla="*/ 18860 w 56292"/>
                  <a:gd name="connsiteY5" fmla="*/ 31051 h 100869"/>
                  <a:gd name="connsiteX6" fmla="*/ 18860 w 56292"/>
                  <a:gd name="connsiteY6" fmla="*/ 69723 h 100869"/>
                  <a:gd name="connsiteX7" fmla="*/ 18860 w 56292"/>
                  <a:gd name="connsiteY7" fmla="*/ 69723 h 100869"/>
                  <a:gd name="connsiteX8" fmla="*/ 0 w 56292"/>
                  <a:gd name="connsiteY8" fmla="*/ 34195 h 100869"/>
                  <a:gd name="connsiteX9" fmla="*/ 3524 w 56292"/>
                  <a:gd name="connsiteY9" fmla="*/ 14192 h 100869"/>
                  <a:gd name="connsiteX10" fmla="*/ 28194 w 56292"/>
                  <a:gd name="connsiteY10" fmla="*/ 0 h 100869"/>
                  <a:gd name="connsiteX11" fmla="*/ 52769 w 56292"/>
                  <a:gd name="connsiteY11" fmla="*/ 14192 h 100869"/>
                  <a:gd name="connsiteX12" fmla="*/ 56293 w 56292"/>
                  <a:gd name="connsiteY12" fmla="*/ 34195 h 100869"/>
                  <a:gd name="connsiteX13" fmla="*/ 56293 w 56292"/>
                  <a:gd name="connsiteY13" fmla="*/ 66675 h 100869"/>
                  <a:gd name="connsiteX14" fmla="*/ 52769 w 56292"/>
                  <a:gd name="connsiteY14" fmla="*/ 86677 h 100869"/>
                  <a:gd name="connsiteX15" fmla="*/ 28194 w 56292"/>
                  <a:gd name="connsiteY15" fmla="*/ 100870 h 100869"/>
                  <a:gd name="connsiteX16" fmla="*/ 3524 w 56292"/>
                  <a:gd name="connsiteY16" fmla="*/ 86677 h 100869"/>
                  <a:gd name="connsiteX17" fmla="*/ 0 w 56292"/>
                  <a:gd name="connsiteY17" fmla="*/ 66675 h 100869"/>
                  <a:gd name="connsiteX18" fmla="*/ 0 w 56292"/>
                  <a:gd name="connsiteY18" fmla="*/ 34195 h 100869"/>
                  <a:gd name="connsiteX19" fmla="*/ 0 w 56292"/>
                  <a:gd name="connsiteY19" fmla="*/ 34195 h 100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6292" h="100869">
                    <a:moveTo>
                      <a:pt x="18860" y="69723"/>
                    </a:moveTo>
                    <a:cubicBezTo>
                      <a:pt x="18860" y="77152"/>
                      <a:pt x="22384" y="80963"/>
                      <a:pt x="28194" y="80963"/>
                    </a:cubicBezTo>
                    <a:cubicBezTo>
                      <a:pt x="34004" y="80963"/>
                      <a:pt x="37433" y="77057"/>
                      <a:pt x="37433" y="69723"/>
                    </a:cubicBezTo>
                    <a:lnTo>
                      <a:pt x="37433" y="31051"/>
                    </a:lnTo>
                    <a:cubicBezTo>
                      <a:pt x="37433" y="23622"/>
                      <a:pt x="33909" y="19812"/>
                      <a:pt x="28194" y="19812"/>
                    </a:cubicBezTo>
                    <a:cubicBezTo>
                      <a:pt x="22479" y="19812"/>
                      <a:pt x="18860" y="23717"/>
                      <a:pt x="18860" y="31051"/>
                    </a:cubicBezTo>
                    <a:lnTo>
                      <a:pt x="18860" y="69723"/>
                    </a:lnTo>
                    <a:lnTo>
                      <a:pt x="18860" y="69723"/>
                    </a:lnTo>
                    <a:close/>
                    <a:moveTo>
                      <a:pt x="0" y="34195"/>
                    </a:moveTo>
                    <a:cubicBezTo>
                      <a:pt x="0" y="26194"/>
                      <a:pt x="952" y="19240"/>
                      <a:pt x="3524" y="14192"/>
                    </a:cubicBezTo>
                    <a:cubicBezTo>
                      <a:pt x="8001" y="5620"/>
                      <a:pt x="16669" y="0"/>
                      <a:pt x="28194" y="0"/>
                    </a:cubicBezTo>
                    <a:cubicBezTo>
                      <a:pt x="39719" y="0"/>
                      <a:pt x="48292" y="5620"/>
                      <a:pt x="52769" y="14192"/>
                    </a:cubicBezTo>
                    <a:cubicBezTo>
                      <a:pt x="55340" y="19240"/>
                      <a:pt x="56293" y="26289"/>
                      <a:pt x="56293" y="34195"/>
                    </a:cubicBezTo>
                    <a:lnTo>
                      <a:pt x="56293" y="66675"/>
                    </a:lnTo>
                    <a:cubicBezTo>
                      <a:pt x="56293" y="74676"/>
                      <a:pt x="55340" y="81629"/>
                      <a:pt x="52769" y="86677"/>
                    </a:cubicBezTo>
                    <a:cubicBezTo>
                      <a:pt x="48292" y="95250"/>
                      <a:pt x="39624" y="100870"/>
                      <a:pt x="28194" y="100870"/>
                    </a:cubicBezTo>
                    <a:cubicBezTo>
                      <a:pt x="16764" y="100870"/>
                      <a:pt x="7906" y="95250"/>
                      <a:pt x="3524" y="86677"/>
                    </a:cubicBezTo>
                    <a:cubicBezTo>
                      <a:pt x="952" y="81629"/>
                      <a:pt x="0" y="74676"/>
                      <a:pt x="0" y="66675"/>
                    </a:cubicBezTo>
                    <a:lnTo>
                      <a:pt x="0" y="34195"/>
                    </a:lnTo>
                    <a:lnTo>
                      <a:pt x="0" y="34195"/>
                    </a:lnTo>
                    <a:close/>
                  </a:path>
                </a:pathLst>
              </a:custGeom>
              <a:solidFill>
                <a:srgbClr val="2832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Freihandform: Form 391">
                <a:extLst>
                  <a:ext uri="{FF2B5EF4-FFF2-40B4-BE49-F238E27FC236}">
                    <a16:creationId xmlns:a16="http://schemas.microsoft.com/office/drawing/2014/main" id="{793A293C-02D1-B2B7-2AFD-24B7A6B5B6E7}"/>
                  </a:ext>
                </a:extLst>
              </p:cNvPr>
              <p:cNvSpPr/>
              <p:nvPr/>
            </p:nvSpPr>
            <p:spPr>
              <a:xfrm>
                <a:off x="564253" y="6595076"/>
                <a:ext cx="61245" cy="140779"/>
              </a:xfrm>
              <a:custGeom>
                <a:avLst/>
                <a:gdLst>
                  <a:gd name="connsiteX0" fmla="*/ 61246 w 61245"/>
                  <a:gd name="connsiteY0" fmla="*/ 40958 h 140779"/>
                  <a:gd name="connsiteX1" fmla="*/ 51340 w 61245"/>
                  <a:gd name="connsiteY1" fmla="*/ 50863 h 140779"/>
                  <a:gd name="connsiteX2" fmla="*/ 41434 w 61245"/>
                  <a:gd name="connsiteY2" fmla="*/ 40958 h 140779"/>
                  <a:gd name="connsiteX3" fmla="*/ 41434 w 61245"/>
                  <a:gd name="connsiteY3" fmla="*/ 34290 h 140779"/>
                  <a:gd name="connsiteX4" fmla="*/ 30671 w 61245"/>
                  <a:gd name="connsiteY4" fmla="*/ 19907 h 140779"/>
                  <a:gd name="connsiteX5" fmla="*/ 19431 w 61245"/>
                  <a:gd name="connsiteY5" fmla="*/ 36004 h 140779"/>
                  <a:gd name="connsiteX6" fmla="*/ 19431 w 61245"/>
                  <a:gd name="connsiteY6" fmla="*/ 106775 h 140779"/>
                  <a:gd name="connsiteX7" fmla="*/ 30480 w 61245"/>
                  <a:gd name="connsiteY7" fmla="*/ 120967 h 140779"/>
                  <a:gd name="connsiteX8" fmla="*/ 41338 w 61245"/>
                  <a:gd name="connsiteY8" fmla="*/ 106966 h 140779"/>
                  <a:gd name="connsiteX9" fmla="*/ 41338 w 61245"/>
                  <a:gd name="connsiteY9" fmla="*/ 98108 h 140779"/>
                  <a:gd name="connsiteX10" fmla="*/ 51244 w 61245"/>
                  <a:gd name="connsiteY10" fmla="*/ 88202 h 140779"/>
                  <a:gd name="connsiteX11" fmla="*/ 61150 w 61245"/>
                  <a:gd name="connsiteY11" fmla="*/ 98108 h 140779"/>
                  <a:gd name="connsiteX12" fmla="*/ 61150 w 61245"/>
                  <a:gd name="connsiteY12" fmla="*/ 108775 h 140779"/>
                  <a:gd name="connsiteX13" fmla="*/ 31147 w 61245"/>
                  <a:gd name="connsiteY13" fmla="*/ 140779 h 140779"/>
                  <a:gd name="connsiteX14" fmla="*/ 0 w 61245"/>
                  <a:gd name="connsiteY14" fmla="*/ 108109 h 140779"/>
                  <a:gd name="connsiteX15" fmla="*/ 0 w 61245"/>
                  <a:gd name="connsiteY15" fmla="*/ 31909 h 140779"/>
                  <a:gd name="connsiteX16" fmla="*/ 30766 w 61245"/>
                  <a:gd name="connsiteY16" fmla="*/ 0 h 140779"/>
                  <a:gd name="connsiteX17" fmla="*/ 61150 w 61245"/>
                  <a:gd name="connsiteY17" fmla="*/ 33052 h 140779"/>
                  <a:gd name="connsiteX18" fmla="*/ 61150 w 61245"/>
                  <a:gd name="connsiteY18" fmla="*/ 40862 h 140779"/>
                  <a:gd name="connsiteX19" fmla="*/ 61150 w 61245"/>
                  <a:gd name="connsiteY19" fmla="*/ 40862 h 140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1245" h="140779">
                    <a:moveTo>
                      <a:pt x="61246" y="40958"/>
                    </a:moveTo>
                    <a:cubicBezTo>
                      <a:pt x="61246" y="46482"/>
                      <a:pt x="56769" y="50863"/>
                      <a:pt x="51340" y="50863"/>
                    </a:cubicBezTo>
                    <a:cubicBezTo>
                      <a:pt x="45910" y="50863"/>
                      <a:pt x="41434" y="46387"/>
                      <a:pt x="41434" y="40958"/>
                    </a:cubicBezTo>
                    <a:lnTo>
                      <a:pt x="41434" y="34290"/>
                    </a:lnTo>
                    <a:cubicBezTo>
                      <a:pt x="41434" y="26479"/>
                      <a:pt x="37909" y="19907"/>
                      <a:pt x="30671" y="19907"/>
                    </a:cubicBezTo>
                    <a:cubicBezTo>
                      <a:pt x="21241" y="19907"/>
                      <a:pt x="19431" y="26670"/>
                      <a:pt x="19431" y="36004"/>
                    </a:cubicBezTo>
                    <a:lnTo>
                      <a:pt x="19431" y="106775"/>
                    </a:lnTo>
                    <a:cubicBezTo>
                      <a:pt x="19431" y="114776"/>
                      <a:pt x="22003" y="120967"/>
                      <a:pt x="30480" y="120967"/>
                    </a:cubicBezTo>
                    <a:cubicBezTo>
                      <a:pt x="35623" y="120967"/>
                      <a:pt x="41338" y="117824"/>
                      <a:pt x="41338" y="106966"/>
                    </a:cubicBezTo>
                    <a:lnTo>
                      <a:pt x="41338" y="98108"/>
                    </a:lnTo>
                    <a:cubicBezTo>
                      <a:pt x="41338" y="92583"/>
                      <a:pt x="45815" y="88202"/>
                      <a:pt x="51244" y="88202"/>
                    </a:cubicBezTo>
                    <a:cubicBezTo>
                      <a:pt x="56674" y="88202"/>
                      <a:pt x="61150" y="92678"/>
                      <a:pt x="61150" y="98108"/>
                    </a:cubicBezTo>
                    <a:lnTo>
                      <a:pt x="61150" y="108775"/>
                    </a:lnTo>
                    <a:cubicBezTo>
                      <a:pt x="61150" y="125825"/>
                      <a:pt x="48006" y="140779"/>
                      <a:pt x="31147" y="140779"/>
                    </a:cubicBezTo>
                    <a:cubicBezTo>
                      <a:pt x="16669" y="140779"/>
                      <a:pt x="0" y="133445"/>
                      <a:pt x="0" y="108109"/>
                    </a:cubicBezTo>
                    <a:lnTo>
                      <a:pt x="0" y="31909"/>
                    </a:lnTo>
                    <a:cubicBezTo>
                      <a:pt x="0" y="13811"/>
                      <a:pt x="12382" y="0"/>
                      <a:pt x="30766" y="0"/>
                    </a:cubicBezTo>
                    <a:cubicBezTo>
                      <a:pt x="49149" y="0"/>
                      <a:pt x="61150" y="13811"/>
                      <a:pt x="61150" y="33052"/>
                    </a:cubicBezTo>
                    <a:lnTo>
                      <a:pt x="61150" y="40862"/>
                    </a:lnTo>
                    <a:lnTo>
                      <a:pt x="61150" y="40862"/>
                    </a:lnTo>
                    <a:close/>
                  </a:path>
                </a:pathLst>
              </a:custGeom>
              <a:solidFill>
                <a:srgbClr val="2832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" name="Freihandform: Form 392">
                <a:extLst>
                  <a:ext uri="{FF2B5EF4-FFF2-40B4-BE49-F238E27FC236}">
                    <a16:creationId xmlns:a16="http://schemas.microsoft.com/office/drawing/2014/main" id="{4C94EDD1-5CD6-AD1B-D23E-97E042F02490}"/>
                  </a:ext>
                </a:extLst>
              </p:cNvPr>
              <p:cNvSpPr/>
              <p:nvPr/>
            </p:nvSpPr>
            <p:spPr>
              <a:xfrm>
                <a:off x="759706" y="6634985"/>
                <a:ext cx="56387" cy="126491"/>
              </a:xfrm>
              <a:custGeom>
                <a:avLst/>
                <a:gdLst>
                  <a:gd name="connsiteX0" fmla="*/ 95 w 56387"/>
                  <a:gd name="connsiteY0" fmla="*/ 117062 h 126491"/>
                  <a:gd name="connsiteX1" fmla="*/ 9525 w 56387"/>
                  <a:gd name="connsiteY1" fmla="*/ 126492 h 126491"/>
                  <a:gd name="connsiteX2" fmla="*/ 18955 w 56387"/>
                  <a:gd name="connsiteY2" fmla="*/ 117062 h 126491"/>
                  <a:gd name="connsiteX3" fmla="*/ 18955 w 56387"/>
                  <a:gd name="connsiteY3" fmla="*/ 99441 h 126491"/>
                  <a:gd name="connsiteX4" fmla="*/ 28194 w 56387"/>
                  <a:gd name="connsiteY4" fmla="*/ 100870 h 126491"/>
                  <a:gd name="connsiteX5" fmla="*/ 52864 w 56387"/>
                  <a:gd name="connsiteY5" fmla="*/ 86677 h 126491"/>
                  <a:gd name="connsiteX6" fmla="*/ 56388 w 56387"/>
                  <a:gd name="connsiteY6" fmla="*/ 66675 h 126491"/>
                  <a:gd name="connsiteX7" fmla="*/ 56388 w 56387"/>
                  <a:gd name="connsiteY7" fmla="*/ 34195 h 126491"/>
                  <a:gd name="connsiteX8" fmla="*/ 52864 w 56387"/>
                  <a:gd name="connsiteY8" fmla="*/ 14192 h 126491"/>
                  <a:gd name="connsiteX9" fmla="*/ 28194 w 56387"/>
                  <a:gd name="connsiteY9" fmla="*/ 0 h 126491"/>
                  <a:gd name="connsiteX10" fmla="*/ 3524 w 56387"/>
                  <a:gd name="connsiteY10" fmla="*/ 14192 h 126491"/>
                  <a:gd name="connsiteX11" fmla="*/ 0 w 56387"/>
                  <a:gd name="connsiteY11" fmla="*/ 34195 h 126491"/>
                  <a:gd name="connsiteX12" fmla="*/ 0 w 56387"/>
                  <a:gd name="connsiteY12" fmla="*/ 40957 h 126491"/>
                  <a:gd name="connsiteX13" fmla="*/ 0 w 56387"/>
                  <a:gd name="connsiteY13" fmla="*/ 40957 h 126491"/>
                  <a:gd name="connsiteX14" fmla="*/ 0 w 56387"/>
                  <a:gd name="connsiteY14" fmla="*/ 117062 h 126491"/>
                  <a:gd name="connsiteX15" fmla="*/ 0 w 56387"/>
                  <a:gd name="connsiteY15" fmla="*/ 117062 h 126491"/>
                  <a:gd name="connsiteX16" fmla="*/ 37433 w 56387"/>
                  <a:gd name="connsiteY16" fmla="*/ 69723 h 126491"/>
                  <a:gd name="connsiteX17" fmla="*/ 28194 w 56387"/>
                  <a:gd name="connsiteY17" fmla="*/ 80963 h 126491"/>
                  <a:gd name="connsiteX18" fmla="*/ 18955 w 56387"/>
                  <a:gd name="connsiteY18" fmla="*/ 70104 h 126491"/>
                  <a:gd name="connsiteX19" fmla="*/ 18955 w 56387"/>
                  <a:gd name="connsiteY19" fmla="*/ 40957 h 126491"/>
                  <a:gd name="connsiteX20" fmla="*/ 18955 w 56387"/>
                  <a:gd name="connsiteY20" fmla="*/ 40957 h 126491"/>
                  <a:gd name="connsiteX21" fmla="*/ 18955 w 56387"/>
                  <a:gd name="connsiteY21" fmla="*/ 31051 h 126491"/>
                  <a:gd name="connsiteX22" fmla="*/ 28289 w 56387"/>
                  <a:gd name="connsiteY22" fmla="*/ 19812 h 126491"/>
                  <a:gd name="connsiteX23" fmla="*/ 37529 w 56387"/>
                  <a:gd name="connsiteY23" fmla="*/ 31051 h 126491"/>
                  <a:gd name="connsiteX24" fmla="*/ 37529 w 56387"/>
                  <a:gd name="connsiteY24" fmla="*/ 69723 h 126491"/>
                  <a:gd name="connsiteX25" fmla="*/ 37529 w 56387"/>
                  <a:gd name="connsiteY25" fmla="*/ 69723 h 126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56387" h="126491">
                    <a:moveTo>
                      <a:pt x="95" y="117062"/>
                    </a:moveTo>
                    <a:cubicBezTo>
                      <a:pt x="95" y="122301"/>
                      <a:pt x="4286" y="126492"/>
                      <a:pt x="9525" y="126492"/>
                    </a:cubicBezTo>
                    <a:cubicBezTo>
                      <a:pt x="14764" y="126492"/>
                      <a:pt x="18955" y="122301"/>
                      <a:pt x="18955" y="117062"/>
                    </a:cubicBezTo>
                    <a:lnTo>
                      <a:pt x="18955" y="99441"/>
                    </a:lnTo>
                    <a:cubicBezTo>
                      <a:pt x="21812" y="100298"/>
                      <a:pt x="24860" y="100870"/>
                      <a:pt x="28194" y="100870"/>
                    </a:cubicBezTo>
                    <a:cubicBezTo>
                      <a:pt x="39624" y="100870"/>
                      <a:pt x="48387" y="95250"/>
                      <a:pt x="52864" y="86677"/>
                    </a:cubicBezTo>
                    <a:cubicBezTo>
                      <a:pt x="55531" y="81629"/>
                      <a:pt x="56388" y="74676"/>
                      <a:pt x="56388" y="66675"/>
                    </a:cubicBezTo>
                    <a:lnTo>
                      <a:pt x="56388" y="34195"/>
                    </a:lnTo>
                    <a:cubicBezTo>
                      <a:pt x="56388" y="26194"/>
                      <a:pt x="55435" y="19240"/>
                      <a:pt x="52864" y="14192"/>
                    </a:cubicBezTo>
                    <a:cubicBezTo>
                      <a:pt x="48387" y="5620"/>
                      <a:pt x="39719" y="0"/>
                      <a:pt x="28194" y="0"/>
                    </a:cubicBezTo>
                    <a:cubicBezTo>
                      <a:pt x="16669" y="0"/>
                      <a:pt x="8001" y="5620"/>
                      <a:pt x="3524" y="14192"/>
                    </a:cubicBezTo>
                    <a:cubicBezTo>
                      <a:pt x="952" y="19240"/>
                      <a:pt x="0" y="26289"/>
                      <a:pt x="0" y="34195"/>
                    </a:cubicBezTo>
                    <a:lnTo>
                      <a:pt x="0" y="40957"/>
                    </a:lnTo>
                    <a:lnTo>
                      <a:pt x="0" y="40957"/>
                    </a:lnTo>
                    <a:lnTo>
                      <a:pt x="0" y="117062"/>
                    </a:lnTo>
                    <a:lnTo>
                      <a:pt x="0" y="117062"/>
                    </a:lnTo>
                    <a:close/>
                    <a:moveTo>
                      <a:pt x="37433" y="69723"/>
                    </a:moveTo>
                    <a:cubicBezTo>
                      <a:pt x="37433" y="77152"/>
                      <a:pt x="33909" y="80963"/>
                      <a:pt x="28194" y="80963"/>
                    </a:cubicBezTo>
                    <a:cubicBezTo>
                      <a:pt x="22479" y="80963"/>
                      <a:pt x="19050" y="77248"/>
                      <a:pt x="18955" y="70104"/>
                    </a:cubicBezTo>
                    <a:lnTo>
                      <a:pt x="18955" y="40957"/>
                    </a:lnTo>
                    <a:lnTo>
                      <a:pt x="18955" y="40957"/>
                    </a:lnTo>
                    <a:lnTo>
                      <a:pt x="18955" y="31051"/>
                    </a:lnTo>
                    <a:cubicBezTo>
                      <a:pt x="18955" y="23622"/>
                      <a:pt x="22574" y="19812"/>
                      <a:pt x="28289" y="19812"/>
                    </a:cubicBezTo>
                    <a:cubicBezTo>
                      <a:pt x="34004" y="19812"/>
                      <a:pt x="37529" y="23717"/>
                      <a:pt x="37529" y="31051"/>
                    </a:cubicBezTo>
                    <a:lnTo>
                      <a:pt x="37529" y="69723"/>
                    </a:lnTo>
                    <a:lnTo>
                      <a:pt x="37529" y="69723"/>
                    </a:lnTo>
                    <a:close/>
                  </a:path>
                </a:pathLst>
              </a:custGeom>
              <a:solidFill>
                <a:srgbClr val="2832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Freihandform: Form 393">
                <a:extLst>
                  <a:ext uri="{FF2B5EF4-FFF2-40B4-BE49-F238E27FC236}">
                    <a16:creationId xmlns:a16="http://schemas.microsoft.com/office/drawing/2014/main" id="{0845C428-CFEC-F442-3512-52F005D4FE77}"/>
                  </a:ext>
                </a:extLst>
              </p:cNvPr>
              <p:cNvSpPr/>
              <p:nvPr/>
            </p:nvSpPr>
            <p:spPr>
              <a:xfrm>
                <a:off x="696175" y="6634985"/>
                <a:ext cx="56387" cy="126491"/>
              </a:xfrm>
              <a:custGeom>
                <a:avLst/>
                <a:gdLst>
                  <a:gd name="connsiteX0" fmla="*/ 95 w 56387"/>
                  <a:gd name="connsiteY0" fmla="*/ 117062 h 126491"/>
                  <a:gd name="connsiteX1" fmla="*/ 9525 w 56387"/>
                  <a:gd name="connsiteY1" fmla="*/ 126492 h 126491"/>
                  <a:gd name="connsiteX2" fmla="*/ 18955 w 56387"/>
                  <a:gd name="connsiteY2" fmla="*/ 117062 h 126491"/>
                  <a:gd name="connsiteX3" fmla="*/ 18955 w 56387"/>
                  <a:gd name="connsiteY3" fmla="*/ 99441 h 126491"/>
                  <a:gd name="connsiteX4" fmla="*/ 28194 w 56387"/>
                  <a:gd name="connsiteY4" fmla="*/ 100870 h 126491"/>
                  <a:gd name="connsiteX5" fmla="*/ 52864 w 56387"/>
                  <a:gd name="connsiteY5" fmla="*/ 86677 h 126491"/>
                  <a:gd name="connsiteX6" fmla="*/ 56388 w 56387"/>
                  <a:gd name="connsiteY6" fmla="*/ 66675 h 126491"/>
                  <a:gd name="connsiteX7" fmla="*/ 56388 w 56387"/>
                  <a:gd name="connsiteY7" fmla="*/ 34195 h 126491"/>
                  <a:gd name="connsiteX8" fmla="*/ 52864 w 56387"/>
                  <a:gd name="connsiteY8" fmla="*/ 14192 h 126491"/>
                  <a:gd name="connsiteX9" fmla="*/ 28194 w 56387"/>
                  <a:gd name="connsiteY9" fmla="*/ 0 h 126491"/>
                  <a:gd name="connsiteX10" fmla="*/ 3524 w 56387"/>
                  <a:gd name="connsiteY10" fmla="*/ 14192 h 126491"/>
                  <a:gd name="connsiteX11" fmla="*/ 0 w 56387"/>
                  <a:gd name="connsiteY11" fmla="*/ 34195 h 126491"/>
                  <a:gd name="connsiteX12" fmla="*/ 0 w 56387"/>
                  <a:gd name="connsiteY12" fmla="*/ 40957 h 126491"/>
                  <a:gd name="connsiteX13" fmla="*/ 0 w 56387"/>
                  <a:gd name="connsiteY13" fmla="*/ 40957 h 126491"/>
                  <a:gd name="connsiteX14" fmla="*/ 0 w 56387"/>
                  <a:gd name="connsiteY14" fmla="*/ 117062 h 126491"/>
                  <a:gd name="connsiteX15" fmla="*/ 0 w 56387"/>
                  <a:gd name="connsiteY15" fmla="*/ 117062 h 126491"/>
                  <a:gd name="connsiteX16" fmla="*/ 37529 w 56387"/>
                  <a:gd name="connsiteY16" fmla="*/ 69723 h 126491"/>
                  <a:gd name="connsiteX17" fmla="*/ 28289 w 56387"/>
                  <a:gd name="connsiteY17" fmla="*/ 80963 h 126491"/>
                  <a:gd name="connsiteX18" fmla="*/ 19050 w 56387"/>
                  <a:gd name="connsiteY18" fmla="*/ 70104 h 126491"/>
                  <a:gd name="connsiteX19" fmla="*/ 19050 w 56387"/>
                  <a:gd name="connsiteY19" fmla="*/ 40957 h 126491"/>
                  <a:gd name="connsiteX20" fmla="*/ 19050 w 56387"/>
                  <a:gd name="connsiteY20" fmla="*/ 40957 h 126491"/>
                  <a:gd name="connsiteX21" fmla="*/ 19050 w 56387"/>
                  <a:gd name="connsiteY21" fmla="*/ 31051 h 126491"/>
                  <a:gd name="connsiteX22" fmla="*/ 28289 w 56387"/>
                  <a:gd name="connsiteY22" fmla="*/ 19812 h 126491"/>
                  <a:gd name="connsiteX23" fmla="*/ 37529 w 56387"/>
                  <a:gd name="connsiteY23" fmla="*/ 31051 h 126491"/>
                  <a:gd name="connsiteX24" fmla="*/ 37529 w 56387"/>
                  <a:gd name="connsiteY24" fmla="*/ 69723 h 126491"/>
                  <a:gd name="connsiteX25" fmla="*/ 37529 w 56387"/>
                  <a:gd name="connsiteY25" fmla="*/ 69723 h 126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56387" h="126491">
                    <a:moveTo>
                      <a:pt x="95" y="117062"/>
                    </a:moveTo>
                    <a:cubicBezTo>
                      <a:pt x="95" y="122301"/>
                      <a:pt x="4286" y="126492"/>
                      <a:pt x="9525" y="126492"/>
                    </a:cubicBezTo>
                    <a:cubicBezTo>
                      <a:pt x="14764" y="126492"/>
                      <a:pt x="18955" y="122301"/>
                      <a:pt x="18955" y="117062"/>
                    </a:cubicBezTo>
                    <a:lnTo>
                      <a:pt x="18955" y="99441"/>
                    </a:lnTo>
                    <a:cubicBezTo>
                      <a:pt x="21812" y="100298"/>
                      <a:pt x="24860" y="100870"/>
                      <a:pt x="28194" y="100870"/>
                    </a:cubicBezTo>
                    <a:cubicBezTo>
                      <a:pt x="39624" y="100870"/>
                      <a:pt x="48387" y="95250"/>
                      <a:pt x="52864" y="86677"/>
                    </a:cubicBezTo>
                    <a:cubicBezTo>
                      <a:pt x="55435" y="81629"/>
                      <a:pt x="56388" y="74676"/>
                      <a:pt x="56388" y="66675"/>
                    </a:cubicBezTo>
                    <a:lnTo>
                      <a:pt x="56388" y="34195"/>
                    </a:lnTo>
                    <a:cubicBezTo>
                      <a:pt x="56388" y="26194"/>
                      <a:pt x="55435" y="19240"/>
                      <a:pt x="52864" y="14192"/>
                    </a:cubicBezTo>
                    <a:cubicBezTo>
                      <a:pt x="48387" y="5620"/>
                      <a:pt x="39719" y="0"/>
                      <a:pt x="28194" y="0"/>
                    </a:cubicBezTo>
                    <a:cubicBezTo>
                      <a:pt x="16669" y="0"/>
                      <a:pt x="8001" y="5620"/>
                      <a:pt x="3524" y="14192"/>
                    </a:cubicBezTo>
                    <a:cubicBezTo>
                      <a:pt x="952" y="19240"/>
                      <a:pt x="0" y="26289"/>
                      <a:pt x="0" y="34195"/>
                    </a:cubicBezTo>
                    <a:lnTo>
                      <a:pt x="0" y="40957"/>
                    </a:lnTo>
                    <a:lnTo>
                      <a:pt x="0" y="40957"/>
                    </a:lnTo>
                    <a:lnTo>
                      <a:pt x="0" y="117062"/>
                    </a:lnTo>
                    <a:lnTo>
                      <a:pt x="0" y="117062"/>
                    </a:lnTo>
                    <a:close/>
                    <a:moveTo>
                      <a:pt x="37529" y="69723"/>
                    </a:moveTo>
                    <a:cubicBezTo>
                      <a:pt x="37529" y="77152"/>
                      <a:pt x="34004" y="80963"/>
                      <a:pt x="28289" y="80963"/>
                    </a:cubicBezTo>
                    <a:cubicBezTo>
                      <a:pt x="22574" y="80963"/>
                      <a:pt x="19240" y="77248"/>
                      <a:pt x="19050" y="70104"/>
                    </a:cubicBezTo>
                    <a:lnTo>
                      <a:pt x="19050" y="40957"/>
                    </a:lnTo>
                    <a:lnTo>
                      <a:pt x="19050" y="40957"/>
                    </a:lnTo>
                    <a:lnTo>
                      <a:pt x="19050" y="31051"/>
                    </a:lnTo>
                    <a:cubicBezTo>
                      <a:pt x="19050" y="23622"/>
                      <a:pt x="22574" y="19812"/>
                      <a:pt x="28289" y="19812"/>
                    </a:cubicBezTo>
                    <a:cubicBezTo>
                      <a:pt x="34004" y="19812"/>
                      <a:pt x="37529" y="23717"/>
                      <a:pt x="37529" y="31051"/>
                    </a:cubicBezTo>
                    <a:lnTo>
                      <a:pt x="37529" y="69723"/>
                    </a:lnTo>
                    <a:lnTo>
                      <a:pt x="37529" y="69723"/>
                    </a:lnTo>
                    <a:close/>
                  </a:path>
                </a:pathLst>
              </a:custGeom>
              <a:solidFill>
                <a:srgbClr val="2832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" name="Freihandform: Form 394">
                <a:extLst>
                  <a:ext uri="{FF2B5EF4-FFF2-40B4-BE49-F238E27FC236}">
                    <a16:creationId xmlns:a16="http://schemas.microsoft.com/office/drawing/2014/main" id="{7A1C7373-3A3E-69ED-CF95-11FD633CDF83}"/>
                  </a:ext>
                </a:extLst>
              </p:cNvPr>
              <p:cNvSpPr/>
              <p:nvPr/>
            </p:nvSpPr>
            <p:spPr>
              <a:xfrm>
                <a:off x="885627" y="6635306"/>
                <a:ext cx="34159" cy="99024"/>
              </a:xfrm>
              <a:custGeom>
                <a:avLst/>
                <a:gdLst>
                  <a:gd name="connsiteX0" fmla="*/ 19050 w 34159"/>
                  <a:gd name="connsiteY0" fmla="*/ 30730 h 99024"/>
                  <a:gd name="connsiteX1" fmla="*/ 26003 w 34159"/>
                  <a:gd name="connsiteY1" fmla="*/ 19682 h 99024"/>
                  <a:gd name="connsiteX2" fmla="*/ 34004 w 34159"/>
                  <a:gd name="connsiteY2" fmla="*/ 8156 h 99024"/>
                  <a:gd name="connsiteX3" fmla="*/ 22479 w 34159"/>
                  <a:gd name="connsiteY3" fmla="*/ 155 h 99024"/>
                  <a:gd name="connsiteX4" fmla="*/ 3524 w 34159"/>
                  <a:gd name="connsiteY4" fmla="*/ 13871 h 99024"/>
                  <a:gd name="connsiteX5" fmla="*/ 0 w 34159"/>
                  <a:gd name="connsiteY5" fmla="*/ 33874 h 99024"/>
                  <a:gd name="connsiteX6" fmla="*/ 0 w 34159"/>
                  <a:gd name="connsiteY6" fmla="*/ 89595 h 99024"/>
                  <a:gd name="connsiteX7" fmla="*/ 9430 w 34159"/>
                  <a:gd name="connsiteY7" fmla="*/ 99025 h 99024"/>
                  <a:gd name="connsiteX8" fmla="*/ 18860 w 34159"/>
                  <a:gd name="connsiteY8" fmla="*/ 89595 h 99024"/>
                  <a:gd name="connsiteX9" fmla="*/ 18860 w 34159"/>
                  <a:gd name="connsiteY9" fmla="*/ 30730 h 99024"/>
                  <a:gd name="connsiteX10" fmla="*/ 18860 w 34159"/>
                  <a:gd name="connsiteY10" fmla="*/ 30730 h 99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159" h="99024">
                    <a:moveTo>
                      <a:pt x="19050" y="30730"/>
                    </a:moveTo>
                    <a:cubicBezTo>
                      <a:pt x="19050" y="24349"/>
                      <a:pt x="21622" y="20634"/>
                      <a:pt x="26003" y="19682"/>
                    </a:cubicBezTo>
                    <a:cubicBezTo>
                      <a:pt x="31433" y="18729"/>
                      <a:pt x="34957" y="13586"/>
                      <a:pt x="34004" y="8156"/>
                    </a:cubicBezTo>
                    <a:cubicBezTo>
                      <a:pt x="33052" y="2727"/>
                      <a:pt x="27908" y="-797"/>
                      <a:pt x="22479" y="155"/>
                    </a:cubicBezTo>
                    <a:cubicBezTo>
                      <a:pt x="13811" y="1679"/>
                      <a:pt x="7239" y="6728"/>
                      <a:pt x="3524" y="13871"/>
                    </a:cubicBezTo>
                    <a:cubicBezTo>
                      <a:pt x="952" y="18919"/>
                      <a:pt x="0" y="25968"/>
                      <a:pt x="0" y="33874"/>
                    </a:cubicBezTo>
                    <a:lnTo>
                      <a:pt x="0" y="89595"/>
                    </a:lnTo>
                    <a:cubicBezTo>
                      <a:pt x="0" y="94834"/>
                      <a:pt x="4191" y="99025"/>
                      <a:pt x="9430" y="99025"/>
                    </a:cubicBezTo>
                    <a:cubicBezTo>
                      <a:pt x="14669" y="99025"/>
                      <a:pt x="18860" y="94834"/>
                      <a:pt x="18860" y="89595"/>
                    </a:cubicBezTo>
                    <a:lnTo>
                      <a:pt x="18860" y="30730"/>
                    </a:lnTo>
                    <a:lnTo>
                      <a:pt x="18860" y="30730"/>
                    </a:lnTo>
                    <a:close/>
                  </a:path>
                </a:pathLst>
              </a:custGeom>
              <a:solidFill>
                <a:srgbClr val="2832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9" name="Freihandform: Form 395">
                <a:extLst>
                  <a:ext uri="{FF2B5EF4-FFF2-40B4-BE49-F238E27FC236}">
                    <a16:creationId xmlns:a16="http://schemas.microsoft.com/office/drawing/2014/main" id="{8BA289DD-BDAF-F193-21AA-F8BEF2C861C3}"/>
                  </a:ext>
                </a:extLst>
              </p:cNvPr>
              <p:cNvSpPr/>
              <p:nvPr/>
            </p:nvSpPr>
            <p:spPr>
              <a:xfrm>
                <a:off x="925441" y="6616411"/>
                <a:ext cx="32385" cy="118681"/>
              </a:xfrm>
              <a:custGeom>
                <a:avLst/>
                <a:gdLst>
                  <a:gd name="connsiteX0" fmla="*/ 18860 w 32385"/>
                  <a:gd name="connsiteY0" fmla="*/ 9430 h 118681"/>
                  <a:gd name="connsiteX1" fmla="*/ 9430 w 32385"/>
                  <a:gd name="connsiteY1" fmla="*/ 0 h 118681"/>
                  <a:gd name="connsiteX2" fmla="*/ 0 w 32385"/>
                  <a:gd name="connsiteY2" fmla="*/ 9430 h 118681"/>
                  <a:gd name="connsiteX3" fmla="*/ 0 w 32385"/>
                  <a:gd name="connsiteY3" fmla="*/ 95536 h 118681"/>
                  <a:gd name="connsiteX4" fmla="*/ 22765 w 32385"/>
                  <a:gd name="connsiteY4" fmla="*/ 118681 h 118681"/>
                  <a:gd name="connsiteX5" fmla="*/ 32385 w 32385"/>
                  <a:gd name="connsiteY5" fmla="*/ 109061 h 118681"/>
                  <a:gd name="connsiteX6" fmla="*/ 24479 w 32385"/>
                  <a:gd name="connsiteY6" fmla="*/ 99631 h 118681"/>
                  <a:gd name="connsiteX7" fmla="*/ 18955 w 32385"/>
                  <a:gd name="connsiteY7" fmla="*/ 90297 h 118681"/>
                  <a:gd name="connsiteX8" fmla="*/ 18955 w 32385"/>
                  <a:gd name="connsiteY8" fmla="*/ 40005 h 118681"/>
                  <a:gd name="connsiteX9" fmla="*/ 20669 w 32385"/>
                  <a:gd name="connsiteY9" fmla="*/ 40005 h 118681"/>
                  <a:gd name="connsiteX10" fmla="*/ 30575 w 32385"/>
                  <a:gd name="connsiteY10" fmla="*/ 30099 h 118681"/>
                  <a:gd name="connsiteX11" fmla="*/ 20669 w 32385"/>
                  <a:gd name="connsiteY11" fmla="*/ 20193 h 118681"/>
                  <a:gd name="connsiteX12" fmla="*/ 18955 w 32385"/>
                  <a:gd name="connsiteY12" fmla="*/ 20193 h 118681"/>
                  <a:gd name="connsiteX13" fmla="*/ 18955 w 32385"/>
                  <a:gd name="connsiteY13" fmla="*/ 9525 h 118681"/>
                  <a:gd name="connsiteX14" fmla="*/ 18955 w 32385"/>
                  <a:gd name="connsiteY14" fmla="*/ 9525 h 118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2385" h="118681">
                    <a:moveTo>
                      <a:pt x="18860" y="9430"/>
                    </a:moveTo>
                    <a:cubicBezTo>
                      <a:pt x="18860" y="4191"/>
                      <a:pt x="14669" y="0"/>
                      <a:pt x="9430" y="0"/>
                    </a:cubicBezTo>
                    <a:cubicBezTo>
                      <a:pt x="4191" y="0"/>
                      <a:pt x="0" y="4191"/>
                      <a:pt x="0" y="9430"/>
                    </a:cubicBezTo>
                    <a:lnTo>
                      <a:pt x="0" y="95536"/>
                    </a:lnTo>
                    <a:cubicBezTo>
                      <a:pt x="0" y="106013"/>
                      <a:pt x="5810" y="118681"/>
                      <a:pt x="22765" y="118681"/>
                    </a:cubicBezTo>
                    <a:cubicBezTo>
                      <a:pt x="28099" y="118681"/>
                      <a:pt x="32385" y="114395"/>
                      <a:pt x="32385" y="109061"/>
                    </a:cubicBezTo>
                    <a:cubicBezTo>
                      <a:pt x="32385" y="104299"/>
                      <a:pt x="28956" y="100394"/>
                      <a:pt x="24479" y="99631"/>
                    </a:cubicBezTo>
                    <a:cubicBezTo>
                      <a:pt x="20574" y="98870"/>
                      <a:pt x="18955" y="96679"/>
                      <a:pt x="18955" y="90297"/>
                    </a:cubicBezTo>
                    <a:lnTo>
                      <a:pt x="18955" y="40005"/>
                    </a:lnTo>
                    <a:lnTo>
                      <a:pt x="20669" y="40005"/>
                    </a:lnTo>
                    <a:cubicBezTo>
                      <a:pt x="26194" y="40005"/>
                      <a:pt x="30575" y="35528"/>
                      <a:pt x="30575" y="30099"/>
                    </a:cubicBezTo>
                    <a:cubicBezTo>
                      <a:pt x="30575" y="24670"/>
                      <a:pt x="26098" y="20193"/>
                      <a:pt x="20669" y="20193"/>
                    </a:cubicBezTo>
                    <a:lnTo>
                      <a:pt x="18955" y="20193"/>
                    </a:lnTo>
                    <a:lnTo>
                      <a:pt x="18955" y="9525"/>
                    </a:lnTo>
                    <a:lnTo>
                      <a:pt x="18955" y="9525"/>
                    </a:lnTo>
                    <a:close/>
                  </a:path>
                </a:pathLst>
              </a:custGeom>
              <a:solidFill>
                <a:srgbClr val="2832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" name="Freihandform: Form 396">
                <a:extLst>
                  <a:ext uri="{FF2B5EF4-FFF2-40B4-BE49-F238E27FC236}">
                    <a16:creationId xmlns:a16="http://schemas.microsoft.com/office/drawing/2014/main" id="{684F26F6-77BD-503C-0272-96719EF2FCB0}"/>
                  </a:ext>
                </a:extLst>
              </p:cNvPr>
              <p:cNvSpPr/>
              <p:nvPr/>
            </p:nvSpPr>
            <p:spPr>
              <a:xfrm>
                <a:off x="1024978" y="6634985"/>
                <a:ext cx="56387" cy="99345"/>
              </a:xfrm>
              <a:custGeom>
                <a:avLst/>
                <a:gdLst>
                  <a:gd name="connsiteX0" fmla="*/ 56388 w 56387"/>
                  <a:gd name="connsiteY0" fmla="*/ 34195 h 99345"/>
                  <a:gd name="connsiteX1" fmla="*/ 52864 w 56387"/>
                  <a:gd name="connsiteY1" fmla="*/ 14192 h 99345"/>
                  <a:gd name="connsiteX2" fmla="*/ 28194 w 56387"/>
                  <a:gd name="connsiteY2" fmla="*/ 0 h 99345"/>
                  <a:gd name="connsiteX3" fmla="*/ 3524 w 56387"/>
                  <a:gd name="connsiteY3" fmla="*/ 14192 h 99345"/>
                  <a:gd name="connsiteX4" fmla="*/ 0 w 56387"/>
                  <a:gd name="connsiteY4" fmla="*/ 34195 h 99345"/>
                  <a:gd name="connsiteX5" fmla="*/ 0 w 56387"/>
                  <a:gd name="connsiteY5" fmla="*/ 89916 h 99345"/>
                  <a:gd name="connsiteX6" fmla="*/ 9430 w 56387"/>
                  <a:gd name="connsiteY6" fmla="*/ 99346 h 99345"/>
                  <a:gd name="connsiteX7" fmla="*/ 18859 w 56387"/>
                  <a:gd name="connsiteY7" fmla="*/ 89916 h 99345"/>
                  <a:gd name="connsiteX8" fmla="*/ 18859 w 56387"/>
                  <a:gd name="connsiteY8" fmla="*/ 31051 h 99345"/>
                  <a:gd name="connsiteX9" fmla="*/ 28099 w 56387"/>
                  <a:gd name="connsiteY9" fmla="*/ 19812 h 99345"/>
                  <a:gd name="connsiteX10" fmla="*/ 37338 w 56387"/>
                  <a:gd name="connsiteY10" fmla="*/ 31051 h 99345"/>
                  <a:gd name="connsiteX11" fmla="*/ 37338 w 56387"/>
                  <a:gd name="connsiteY11" fmla="*/ 89916 h 99345"/>
                  <a:gd name="connsiteX12" fmla="*/ 46863 w 56387"/>
                  <a:gd name="connsiteY12" fmla="*/ 99346 h 99345"/>
                  <a:gd name="connsiteX13" fmla="*/ 56293 w 56387"/>
                  <a:gd name="connsiteY13" fmla="*/ 89916 h 99345"/>
                  <a:gd name="connsiteX14" fmla="*/ 56293 w 56387"/>
                  <a:gd name="connsiteY14" fmla="*/ 34195 h 99345"/>
                  <a:gd name="connsiteX15" fmla="*/ 56293 w 56387"/>
                  <a:gd name="connsiteY15" fmla="*/ 34195 h 9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6387" h="99345">
                    <a:moveTo>
                      <a:pt x="56388" y="34195"/>
                    </a:moveTo>
                    <a:cubicBezTo>
                      <a:pt x="56388" y="26194"/>
                      <a:pt x="55435" y="19240"/>
                      <a:pt x="52864" y="14192"/>
                    </a:cubicBezTo>
                    <a:cubicBezTo>
                      <a:pt x="48482" y="5620"/>
                      <a:pt x="39719" y="0"/>
                      <a:pt x="28194" y="0"/>
                    </a:cubicBezTo>
                    <a:cubicBezTo>
                      <a:pt x="16669" y="0"/>
                      <a:pt x="8001" y="5620"/>
                      <a:pt x="3524" y="14192"/>
                    </a:cubicBezTo>
                    <a:cubicBezTo>
                      <a:pt x="952" y="19240"/>
                      <a:pt x="0" y="26289"/>
                      <a:pt x="0" y="34195"/>
                    </a:cubicBezTo>
                    <a:lnTo>
                      <a:pt x="0" y="89916"/>
                    </a:lnTo>
                    <a:cubicBezTo>
                      <a:pt x="0" y="95155"/>
                      <a:pt x="4191" y="99346"/>
                      <a:pt x="9430" y="99346"/>
                    </a:cubicBezTo>
                    <a:cubicBezTo>
                      <a:pt x="14668" y="99346"/>
                      <a:pt x="18859" y="95155"/>
                      <a:pt x="18859" y="89916"/>
                    </a:cubicBezTo>
                    <a:lnTo>
                      <a:pt x="18859" y="31051"/>
                    </a:lnTo>
                    <a:cubicBezTo>
                      <a:pt x="18859" y="23622"/>
                      <a:pt x="22384" y="19812"/>
                      <a:pt x="28099" y="19812"/>
                    </a:cubicBezTo>
                    <a:cubicBezTo>
                      <a:pt x="33814" y="19812"/>
                      <a:pt x="37338" y="23717"/>
                      <a:pt x="37338" y="31051"/>
                    </a:cubicBezTo>
                    <a:lnTo>
                      <a:pt x="37338" y="89916"/>
                    </a:lnTo>
                    <a:cubicBezTo>
                      <a:pt x="37338" y="95155"/>
                      <a:pt x="41624" y="99346"/>
                      <a:pt x="46863" y="99346"/>
                    </a:cubicBezTo>
                    <a:cubicBezTo>
                      <a:pt x="52102" y="99346"/>
                      <a:pt x="56293" y="95155"/>
                      <a:pt x="56293" y="89916"/>
                    </a:cubicBezTo>
                    <a:lnTo>
                      <a:pt x="56293" y="34195"/>
                    </a:lnTo>
                    <a:lnTo>
                      <a:pt x="56293" y="34195"/>
                    </a:lnTo>
                    <a:close/>
                  </a:path>
                </a:pathLst>
              </a:custGeom>
              <a:solidFill>
                <a:srgbClr val="2832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1" name="Freihandform: Form 397">
                <a:extLst>
                  <a:ext uri="{FF2B5EF4-FFF2-40B4-BE49-F238E27FC236}">
                    <a16:creationId xmlns:a16="http://schemas.microsoft.com/office/drawing/2014/main" id="{2255D284-7F37-6217-DD4B-2B4024E54B02}"/>
                  </a:ext>
                </a:extLst>
              </p:cNvPr>
              <p:cNvSpPr/>
              <p:nvPr/>
            </p:nvSpPr>
            <p:spPr>
              <a:xfrm>
                <a:off x="823333" y="6635080"/>
                <a:ext cx="56197" cy="100774"/>
              </a:xfrm>
              <a:custGeom>
                <a:avLst/>
                <a:gdLst>
                  <a:gd name="connsiteX0" fmla="*/ 18860 w 56197"/>
                  <a:gd name="connsiteY0" fmla="*/ 57722 h 100774"/>
                  <a:gd name="connsiteX1" fmla="*/ 18860 w 56197"/>
                  <a:gd name="connsiteY1" fmla="*/ 71152 h 100774"/>
                  <a:gd name="connsiteX2" fmla="*/ 28099 w 56197"/>
                  <a:gd name="connsiteY2" fmla="*/ 80867 h 100774"/>
                  <a:gd name="connsiteX3" fmla="*/ 36100 w 56197"/>
                  <a:gd name="connsiteY3" fmla="*/ 76200 h 100774"/>
                  <a:gd name="connsiteX4" fmla="*/ 49054 w 56197"/>
                  <a:gd name="connsiteY4" fmla="*/ 71914 h 100774"/>
                  <a:gd name="connsiteX5" fmla="*/ 53340 w 56197"/>
                  <a:gd name="connsiteY5" fmla="*/ 84868 h 100774"/>
                  <a:gd name="connsiteX6" fmla="*/ 48673 w 56197"/>
                  <a:gd name="connsiteY6" fmla="*/ 92012 h 100774"/>
                  <a:gd name="connsiteX7" fmla="*/ 28099 w 56197"/>
                  <a:gd name="connsiteY7" fmla="*/ 100775 h 100774"/>
                  <a:gd name="connsiteX8" fmla="*/ 3429 w 56197"/>
                  <a:gd name="connsiteY8" fmla="*/ 86582 h 100774"/>
                  <a:gd name="connsiteX9" fmla="*/ 0 w 56197"/>
                  <a:gd name="connsiteY9" fmla="*/ 66580 h 100774"/>
                  <a:gd name="connsiteX10" fmla="*/ 0 w 56197"/>
                  <a:gd name="connsiteY10" fmla="*/ 28099 h 100774"/>
                  <a:gd name="connsiteX11" fmla="*/ 28099 w 56197"/>
                  <a:gd name="connsiteY11" fmla="*/ 0 h 100774"/>
                  <a:gd name="connsiteX12" fmla="*/ 56198 w 56197"/>
                  <a:gd name="connsiteY12" fmla="*/ 28099 h 100774"/>
                  <a:gd name="connsiteX13" fmla="*/ 28099 w 56197"/>
                  <a:gd name="connsiteY13" fmla="*/ 57817 h 100774"/>
                  <a:gd name="connsiteX14" fmla="*/ 18860 w 56197"/>
                  <a:gd name="connsiteY14" fmla="*/ 57817 h 100774"/>
                  <a:gd name="connsiteX15" fmla="*/ 37433 w 56197"/>
                  <a:gd name="connsiteY15" fmla="*/ 30956 h 100774"/>
                  <a:gd name="connsiteX16" fmla="*/ 28194 w 56197"/>
                  <a:gd name="connsiteY16" fmla="*/ 19717 h 100774"/>
                  <a:gd name="connsiteX17" fmla="*/ 18955 w 56197"/>
                  <a:gd name="connsiteY17" fmla="*/ 30956 h 100774"/>
                  <a:gd name="connsiteX18" fmla="*/ 18955 w 56197"/>
                  <a:gd name="connsiteY18" fmla="*/ 42196 h 100774"/>
                  <a:gd name="connsiteX19" fmla="*/ 25908 w 56197"/>
                  <a:gd name="connsiteY19" fmla="*/ 42196 h 100774"/>
                  <a:gd name="connsiteX20" fmla="*/ 37433 w 56197"/>
                  <a:gd name="connsiteY20" fmla="*/ 30956 h 100774"/>
                  <a:gd name="connsiteX21" fmla="*/ 37433 w 56197"/>
                  <a:gd name="connsiteY21" fmla="*/ 30956 h 100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6197" h="100774">
                    <a:moveTo>
                      <a:pt x="18860" y="57722"/>
                    </a:moveTo>
                    <a:lnTo>
                      <a:pt x="18860" y="71152"/>
                    </a:lnTo>
                    <a:cubicBezTo>
                      <a:pt x="18860" y="77343"/>
                      <a:pt x="22384" y="80867"/>
                      <a:pt x="28099" y="80867"/>
                    </a:cubicBezTo>
                    <a:cubicBezTo>
                      <a:pt x="32480" y="80867"/>
                      <a:pt x="34862" y="78772"/>
                      <a:pt x="36100" y="76200"/>
                    </a:cubicBezTo>
                    <a:cubicBezTo>
                      <a:pt x="38481" y="71438"/>
                      <a:pt x="44291" y="69533"/>
                      <a:pt x="49054" y="71914"/>
                    </a:cubicBezTo>
                    <a:cubicBezTo>
                      <a:pt x="53816" y="74295"/>
                      <a:pt x="55721" y="80105"/>
                      <a:pt x="53340" y="84868"/>
                    </a:cubicBezTo>
                    <a:cubicBezTo>
                      <a:pt x="52102" y="87535"/>
                      <a:pt x="50578" y="89916"/>
                      <a:pt x="48673" y="92012"/>
                    </a:cubicBezTo>
                    <a:cubicBezTo>
                      <a:pt x="43625" y="97441"/>
                      <a:pt x="36767" y="100775"/>
                      <a:pt x="28099" y="100775"/>
                    </a:cubicBezTo>
                    <a:cubicBezTo>
                      <a:pt x="16573" y="100775"/>
                      <a:pt x="7906" y="95060"/>
                      <a:pt x="3429" y="86582"/>
                    </a:cubicBezTo>
                    <a:cubicBezTo>
                      <a:pt x="857" y="81534"/>
                      <a:pt x="0" y="74581"/>
                      <a:pt x="0" y="66580"/>
                    </a:cubicBezTo>
                    <a:lnTo>
                      <a:pt x="0" y="28099"/>
                    </a:lnTo>
                    <a:cubicBezTo>
                      <a:pt x="0" y="12573"/>
                      <a:pt x="12573" y="0"/>
                      <a:pt x="28099" y="0"/>
                    </a:cubicBezTo>
                    <a:cubicBezTo>
                      <a:pt x="43625" y="0"/>
                      <a:pt x="56198" y="12668"/>
                      <a:pt x="56198" y="28099"/>
                    </a:cubicBezTo>
                    <a:cubicBezTo>
                      <a:pt x="56198" y="45815"/>
                      <a:pt x="43720" y="57817"/>
                      <a:pt x="28099" y="57817"/>
                    </a:cubicBezTo>
                    <a:lnTo>
                      <a:pt x="18860" y="57817"/>
                    </a:lnTo>
                    <a:close/>
                    <a:moveTo>
                      <a:pt x="37433" y="30956"/>
                    </a:moveTo>
                    <a:cubicBezTo>
                      <a:pt x="37433" y="23527"/>
                      <a:pt x="33909" y="19717"/>
                      <a:pt x="28194" y="19717"/>
                    </a:cubicBezTo>
                    <a:cubicBezTo>
                      <a:pt x="22479" y="19717"/>
                      <a:pt x="18955" y="23622"/>
                      <a:pt x="18955" y="30956"/>
                    </a:cubicBezTo>
                    <a:lnTo>
                      <a:pt x="18955" y="42196"/>
                    </a:lnTo>
                    <a:lnTo>
                      <a:pt x="25908" y="42196"/>
                    </a:lnTo>
                    <a:cubicBezTo>
                      <a:pt x="31623" y="42196"/>
                      <a:pt x="37433" y="38291"/>
                      <a:pt x="37433" y="30956"/>
                    </a:cubicBezTo>
                    <a:lnTo>
                      <a:pt x="37433" y="30956"/>
                    </a:lnTo>
                    <a:close/>
                  </a:path>
                </a:pathLst>
              </a:custGeom>
              <a:solidFill>
                <a:srgbClr val="2832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Freihandform: Form 398">
                <a:extLst>
                  <a:ext uri="{FF2B5EF4-FFF2-40B4-BE49-F238E27FC236}">
                    <a16:creationId xmlns:a16="http://schemas.microsoft.com/office/drawing/2014/main" id="{8E672710-BFB9-D4B7-F820-D982EDD3F2FE}"/>
                  </a:ext>
                </a:extLst>
              </p:cNvPr>
              <p:cNvSpPr/>
              <p:nvPr/>
            </p:nvSpPr>
            <p:spPr>
              <a:xfrm>
                <a:off x="1088509" y="6635080"/>
                <a:ext cx="56197" cy="100774"/>
              </a:xfrm>
              <a:custGeom>
                <a:avLst/>
                <a:gdLst>
                  <a:gd name="connsiteX0" fmla="*/ 18859 w 56197"/>
                  <a:gd name="connsiteY0" fmla="*/ 57722 h 100774"/>
                  <a:gd name="connsiteX1" fmla="*/ 18859 w 56197"/>
                  <a:gd name="connsiteY1" fmla="*/ 71152 h 100774"/>
                  <a:gd name="connsiteX2" fmla="*/ 28099 w 56197"/>
                  <a:gd name="connsiteY2" fmla="*/ 80867 h 100774"/>
                  <a:gd name="connsiteX3" fmla="*/ 36100 w 56197"/>
                  <a:gd name="connsiteY3" fmla="*/ 76200 h 100774"/>
                  <a:gd name="connsiteX4" fmla="*/ 49054 w 56197"/>
                  <a:gd name="connsiteY4" fmla="*/ 71914 h 100774"/>
                  <a:gd name="connsiteX5" fmla="*/ 53340 w 56197"/>
                  <a:gd name="connsiteY5" fmla="*/ 84868 h 100774"/>
                  <a:gd name="connsiteX6" fmla="*/ 48673 w 56197"/>
                  <a:gd name="connsiteY6" fmla="*/ 92012 h 100774"/>
                  <a:gd name="connsiteX7" fmla="*/ 28099 w 56197"/>
                  <a:gd name="connsiteY7" fmla="*/ 100775 h 100774"/>
                  <a:gd name="connsiteX8" fmla="*/ 3429 w 56197"/>
                  <a:gd name="connsiteY8" fmla="*/ 86582 h 100774"/>
                  <a:gd name="connsiteX9" fmla="*/ 0 w 56197"/>
                  <a:gd name="connsiteY9" fmla="*/ 66580 h 100774"/>
                  <a:gd name="connsiteX10" fmla="*/ 0 w 56197"/>
                  <a:gd name="connsiteY10" fmla="*/ 28099 h 100774"/>
                  <a:gd name="connsiteX11" fmla="*/ 28099 w 56197"/>
                  <a:gd name="connsiteY11" fmla="*/ 0 h 100774"/>
                  <a:gd name="connsiteX12" fmla="*/ 56197 w 56197"/>
                  <a:gd name="connsiteY12" fmla="*/ 28099 h 100774"/>
                  <a:gd name="connsiteX13" fmla="*/ 28099 w 56197"/>
                  <a:gd name="connsiteY13" fmla="*/ 57817 h 100774"/>
                  <a:gd name="connsiteX14" fmla="*/ 18859 w 56197"/>
                  <a:gd name="connsiteY14" fmla="*/ 57817 h 100774"/>
                  <a:gd name="connsiteX15" fmla="*/ 37433 w 56197"/>
                  <a:gd name="connsiteY15" fmla="*/ 30956 h 100774"/>
                  <a:gd name="connsiteX16" fmla="*/ 28194 w 56197"/>
                  <a:gd name="connsiteY16" fmla="*/ 19717 h 100774"/>
                  <a:gd name="connsiteX17" fmla="*/ 18955 w 56197"/>
                  <a:gd name="connsiteY17" fmla="*/ 30956 h 100774"/>
                  <a:gd name="connsiteX18" fmla="*/ 18955 w 56197"/>
                  <a:gd name="connsiteY18" fmla="*/ 42196 h 100774"/>
                  <a:gd name="connsiteX19" fmla="*/ 25908 w 56197"/>
                  <a:gd name="connsiteY19" fmla="*/ 42196 h 100774"/>
                  <a:gd name="connsiteX20" fmla="*/ 37433 w 56197"/>
                  <a:gd name="connsiteY20" fmla="*/ 30956 h 100774"/>
                  <a:gd name="connsiteX21" fmla="*/ 37433 w 56197"/>
                  <a:gd name="connsiteY21" fmla="*/ 30956 h 100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6197" h="100774">
                    <a:moveTo>
                      <a:pt x="18859" y="57722"/>
                    </a:moveTo>
                    <a:lnTo>
                      <a:pt x="18859" y="71152"/>
                    </a:lnTo>
                    <a:cubicBezTo>
                      <a:pt x="18859" y="77343"/>
                      <a:pt x="22384" y="80867"/>
                      <a:pt x="28099" y="80867"/>
                    </a:cubicBezTo>
                    <a:cubicBezTo>
                      <a:pt x="32480" y="80867"/>
                      <a:pt x="34862" y="78772"/>
                      <a:pt x="36100" y="76200"/>
                    </a:cubicBezTo>
                    <a:cubicBezTo>
                      <a:pt x="38481" y="71438"/>
                      <a:pt x="44291" y="69533"/>
                      <a:pt x="49054" y="71914"/>
                    </a:cubicBezTo>
                    <a:cubicBezTo>
                      <a:pt x="53816" y="74295"/>
                      <a:pt x="55721" y="80105"/>
                      <a:pt x="53340" y="84868"/>
                    </a:cubicBezTo>
                    <a:cubicBezTo>
                      <a:pt x="52102" y="87535"/>
                      <a:pt x="50578" y="89916"/>
                      <a:pt x="48673" y="92012"/>
                    </a:cubicBezTo>
                    <a:cubicBezTo>
                      <a:pt x="43625" y="97441"/>
                      <a:pt x="36767" y="100775"/>
                      <a:pt x="28099" y="100775"/>
                    </a:cubicBezTo>
                    <a:cubicBezTo>
                      <a:pt x="16573" y="100775"/>
                      <a:pt x="7906" y="95060"/>
                      <a:pt x="3429" y="86582"/>
                    </a:cubicBezTo>
                    <a:cubicBezTo>
                      <a:pt x="857" y="81534"/>
                      <a:pt x="0" y="74581"/>
                      <a:pt x="0" y="66580"/>
                    </a:cubicBezTo>
                    <a:lnTo>
                      <a:pt x="0" y="28099"/>
                    </a:lnTo>
                    <a:cubicBezTo>
                      <a:pt x="0" y="12573"/>
                      <a:pt x="12573" y="0"/>
                      <a:pt x="28099" y="0"/>
                    </a:cubicBezTo>
                    <a:cubicBezTo>
                      <a:pt x="43625" y="0"/>
                      <a:pt x="56197" y="12668"/>
                      <a:pt x="56197" y="28099"/>
                    </a:cubicBezTo>
                    <a:cubicBezTo>
                      <a:pt x="56197" y="45815"/>
                      <a:pt x="43720" y="57817"/>
                      <a:pt x="28099" y="57817"/>
                    </a:cubicBezTo>
                    <a:lnTo>
                      <a:pt x="18859" y="57817"/>
                    </a:lnTo>
                    <a:close/>
                    <a:moveTo>
                      <a:pt x="37433" y="30956"/>
                    </a:moveTo>
                    <a:cubicBezTo>
                      <a:pt x="37433" y="23527"/>
                      <a:pt x="33909" y="19717"/>
                      <a:pt x="28194" y="19717"/>
                    </a:cubicBezTo>
                    <a:cubicBezTo>
                      <a:pt x="22479" y="19717"/>
                      <a:pt x="18955" y="23622"/>
                      <a:pt x="18955" y="30956"/>
                    </a:cubicBezTo>
                    <a:lnTo>
                      <a:pt x="18955" y="42196"/>
                    </a:lnTo>
                    <a:lnTo>
                      <a:pt x="25908" y="42196"/>
                    </a:lnTo>
                    <a:cubicBezTo>
                      <a:pt x="31623" y="42196"/>
                      <a:pt x="37433" y="38291"/>
                      <a:pt x="37433" y="30956"/>
                    </a:cubicBezTo>
                    <a:lnTo>
                      <a:pt x="37433" y="30956"/>
                    </a:lnTo>
                    <a:close/>
                  </a:path>
                </a:pathLst>
              </a:custGeom>
              <a:solidFill>
                <a:srgbClr val="2832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3" name="Freihandform: Form 399">
                <a:extLst>
                  <a:ext uri="{FF2B5EF4-FFF2-40B4-BE49-F238E27FC236}">
                    <a16:creationId xmlns:a16="http://schemas.microsoft.com/office/drawing/2014/main" id="{845876A0-9965-F9CF-8530-D374804C7A37}"/>
                  </a:ext>
                </a:extLst>
              </p:cNvPr>
              <p:cNvSpPr/>
              <p:nvPr/>
            </p:nvSpPr>
            <p:spPr>
              <a:xfrm>
                <a:off x="1146993" y="6717567"/>
                <a:ext cx="17525" cy="17525"/>
              </a:xfrm>
              <a:custGeom>
                <a:avLst/>
                <a:gdLst>
                  <a:gd name="connsiteX0" fmla="*/ 9144 w 17525"/>
                  <a:gd name="connsiteY0" fmla="*/ 7906 h 17525"/>
                  <a:gd name="connsiteX1" fmla="*/ 10573 w 17525"/>
                  <a:gd name="connsiteY1" fmla="*/ 6667 h 17525"/>
                  <a:gd name="connsiteX2" fmla="*/ 8763 w 17525"/>
                  <a:gd name="connsiteY2" fmla="*/ 5620 h 17525"/>
                  <a:gd name="connsiteX3" fmla="*/ 7334 w 17525"/>
                  <a:gd name="connsiteY3" fmla="*/ 5620 h 17525"/>
                  <a:gd name="connsiteX4" fmla="*/ 7334 w 17525"/>
                  <a:gd name="connsiteY4" fmla="*/ 7906 h 17525"/>
                  <a:gd name="connsiteX5" fmla="*/ 9144 w 17525"/>
                  <a:gd name="connsiteY5" fmla="*/ 7906 h 17525"/>
                  <a:gd name="connsiteX6" fmla="*/ 7334 w 17525"/>
                  <a:gd name="connsiteY6" fmla="*/ 13430 h 17525"/>
                  <a:gd name="connsiteX7" fmla="*/ 5334 w 17525"/>
                  <a:gd name="connsiteY7" fmla="*/ 13430 h 17525"/>
                  <a:gd name="connsiteX8" fmla="*/ 5334 w 17525"/>
                  <a:gd name="connsiteY8" fmla="*/ 4000 h 17525"/>
                  <a:gd name="connsiteX9" fmla="*/ 8858 w 17525"/>
                  <a:gd name="connsiteY9" fmla="*/ 4000 h 17525"/>
                  <a:gd name="connsiteX10" fmla="*/ 12763 w 17525"/>
                  <a:gd name="connsiteY10" fmla="*/ 6858 h 17525"/>
                  <a:gd name="connsiteX11" fmla="*/ 10477 w 17525"/>
                  <a:gd name="connsiteY11" fmla="*/ 9334 h 17525"/>
                  <a:gd name="connsiteX12" fmla="*/ 12859 w 17525"/>
                  <a:gd name="connsiteY12" fmla="*/ 13430 h 17525"/>
                  <a:gd name="connsiteX13" fmla="*/ 10477 w 17525"/>
                  <a:gd name="connsiteY13" fmla="*/ 13430 h 17525"/>
                  <a:gd name="connsiteX14" fmla="*/ 8287 w 17525"/>
                  <a:gd name="connsiteY14" fmla="*/ 9430 h 17525"/>
                  <a:gd name="connsiteX15" fmla="*/ 7334 w 17525"/>
                  <a:gd name="connsiteY15" fmla="*/ 9430 h 17525"/>
                  <a:gd name="connsiteX16" fmla="*/ 7334 w 17525"/>
                  <a:gd name="connsiteY16" fmla="*/ 13430 h 17525"/>
                  <a:gd name="connsiteX17" fmla="*/ 7334 w 17525"/>
                  <a:gd name="connsiteY17" fmla="*/ 13430 h 17525"/>
                  <a:gd name="connsiteX18" fmla="*/ 8763 w 17525"/>
                  <a:gd name="connsiteY18" fmla="*/ 2000 h 17525"/>
                  <a:gd name="connsiteX19" fmla="*/ 2476 w 17525"/>
                  <a:gd name="connsiteY19" fmla="*/ 8763 h 17525"/>
                  <a:gd name="connsiteX20" fmla="*/ 8763 w 17525"/>
                  <a:gd name="connsiteY20" fmla="*/ 15526 h 17525"/>
                  <a:gd name="connsiteX21" fmla="*/ 8763 w 17525"/>
                  <a:gd name="connsiteY21" fmla="*/ 15526 h 17525"/>
                  <a:gd name="connsiteX22" fmla="*/ 15050 w 17525"/>
                  <a:gd name="connsiteY22" fmla="*/ 8763 h 17525"/>
                  <a:gd name="connsiteX23" fmla="*/ 8763 w 17525"/>
                  <a:gd name="connsiteY23" fmla="*/ 2000 h 17525"/>
                  <a:gd name="connsiteX24" fmla="*/ 8763 w 17525"/>
                  <a:gd name="connsiteY24" fmla="*/ 2000 h 17525"/>
                  <a:gd name="connsiteX25" fmla="*/ 8763 w 17525"/>
                  <a:gd name="connsiteY25" fmla="*/ 17526 h 17525"/>
                  <a:gd name="connsiteX26" fmla="*/ 0 w 17525"/>
                  <a:gd name="connsiteY26" fmla="*/ 8763 h 17525"/>
                  <a:gd name="connsiteX27" fmla="*/ 8763 w 17525"/>
                  <a:gd name="connsiteY27" fmla="*/ 0 h 17525"/>
                  <a:gd name="connsiteX28" fmla="*/ 17526 w 17525"/>
                  <a:gd name="connsiteY28" fmla="*/ 8763 h 17525"/>
                  <a:gd name="connsiteX29" fmla="*/ 8763 w 17525"/>
                  <a:gd name="connsiteY29" fmla="*/ 17526 h 17525"/>
                  <a:gd name="connsiteX30" fmla="*/ 8763 w 17525"/>
                  <a:gd name="connsiteY30" fmla="*/ 17526 h 17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7525" h="17525">
                    <a:moveTo>
                      <a:pt x="9144" y="7906"/>
                    </a:moveTo>
                    <a:cubicBezTo>
                      <a:pt x="10001" y="7906"/>
                      <a:pt x="10573" y="7715"/>
                      <a:pt x="10573" y="6667"/>
                    </a:cubicBezTo>
                    <a:cubicBezTo>
                      <a:pt x="10573" y="5715"/>
                      <a:pt x="9525" y="5620"/>
                      <a:pt x="8763" y="5620"/>
                    </a:cubicBezTo>
                    <a:lnTo>
                      <a:pt x="7334" y="5620"/>
                    </a:lnTo>
                    <a:lnTo>
                      <a:pt x="7334" y="7906"/>
                    </a:lnTo>
                    <a:lnTo>
                      <a:pt x="9144" y="7906"/>
                    </a:lnTo>
                    <a:close/>
                    <a:moveTo>
                      <a:pt x="7334" y="13430"/>
                    </a:moveTo>
                    <a:lnTo>
                      <a:pt x="5334" y="13430"/>
                    </a:lnTo>
                    <a:lnTo>
                      <a:pt x="5334" y="4000"/>
                    </a:lnTo>
                    <a:lnTo>
                      <a:pt x="8858" y="4000"/>
                    </a:lnTo>
                    <a:cubicBezTo>
                      <a:pt x="11239" y="4000"/>
                      <a:pt x="12763" y="4667"/>
                      <a:pt x="12763" y="6858"/>
                    </a:cubicBezTo>
                    <a:cubicBezTo>
                      <a:pt x="12763" y="8573"/>
                      <a:pt x="11716" y="9239"/>
                      <a:pt x="10477" y="9334"/>
                    </a:cubicBezTo>
                    <a:lnTo>
                      <a:pt x="12859" y="13430"/>
                    </a:lnTo>
                    <a:lnTo>
                      <a:pt x="10477" y="13430"/>
                    </a:lnTo>
                    <a:lnTo>
                      <a:pt x="8287" y="9430"/>
                    </a:lnTo>
                    <a:lnTo>
                      <a:pt x="7334" y="9430"/>
                    </a:lnTo>
                    <a:lnTo>
                      <a:pt x="7334" y="13430"/>
                    </a:lnTo>
                    <a:lnTo>
                      <a:pt x="7334" y="13430"/>
                    </a:lnTo>
                    <a:close/>
                    <a:moveTo>
                      <a:pt x="8763" y="2000"/>
                    </a:moveTo>
                    <a:cubicBezTo>
                      <a:pt x="5334" y="2000"/>
                      <a:pt x="2476" y="4667"/>
                      <a:pt x="2476" y="8763"/>
                    </a:cubicBezTo>
                    <a:cubicBezTo>
                      <a:pt x="2476" y="12859"/>
                      <a:pt x="5239" y="15526"/>
                      <a:pt x="8763" y="15526"/>
                    </a:cubicBezTo>
                    <a:lnTo>
                      <a:pt x="8763" y="15526"/>
                    </a:lnTo>
                    <a:cubicBezTo>
                      <a:pt x="12097" y="15526"/>
                      <a:pt x="15050" y="12859"/>
                      <a:pt x="15050" y="8763"/>
                    </a:cubicBezTo>
                    <a:cubicBezTo>
                      <a:pt x="15050" y="4667"/>
                      <a:pt x="12192" y="2000"/>
                      <a:pt x="8763" y="2000"/>
                    </a:cubicBezTo>
                    <a:lnTo>
                      <a:pt x="8763" y="2000"/>
                    </a:lnTo>
                    <a:close/>
                    <a:moveTo>
                      <a:pt x="8763" y="17526"/>
                    </a:moveTo>
                    <a:cubicBezTo>
                      <a:pt x="4096" y="17526"/>
                      <a:pt x="0" y="14288"/>
                      <a:pt x="0" y="8763"/>
                    </a:cubicBezTo>
                    <a:cubicBezTo>
                      <a:pt x="0" y="3238"/>
                      <a:pt x="4096" y="0"/>
                      <a:pt x="8763" y="0"/>
                    </a:cubicBezTo>
                    <a:cubicBezTo>
                      <a:pt x="13430" y="0"/>
                      <a:pt x="17526" y="3238"/>
                      <a:pt x="17526" y="8763"/>
                    </a:cubicBezTo>
                    <a:cubicBezTo>
                      <a:pt x="17526" y="14288"/>
                      <a:pt x="13430" y="17526"/>
                      <a:pt x="8763" y="17526"/>
                    </a:cubicBezTo>
                    <a:lnTo>
                      <a:pt x="8763" y="17526"/>
                    </a:lnTo>
                    <a:close/>
                  </a:path>
                </a:pathLst>
              </a:custGeom>
              <a:solidFill>
                <a:srgbClr val="2832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84BBDFE5-C8FF-BCF5-96AF-2BD76FA059DE}"/>
                </a:ext>
              </a:extLst>
            </p:cNvPr>
            <p:cNvGrpSpPr/>
            <p:nvPr/>
          </p:nvGrpSpPr>
          <p:grpSpPr>
            <a:xfrm>
              <a:off x="550728" y="5997763"/>
              <a:ext cx="568070" cy="229552"/>
              <a:chOff x="550728" y="5997763"/>
              <a:chExt cx="568070" cy="229552"/>
            </a:xfrm>
          </p:grpSpPr>
          <p:sp>
            <p:nvSpPr>
              <p:cNvPr id="45" name="Freihandform: Form 379">
                <a:extLst>
                  <a:ext uri="{FF2B5EF4-FFF2-40B4-BE49-F238E27FC236}">
                    <a16:creationId xmlns:a16="http://schemas.microsoft.com/office/drawing/2014/main" id="{EE0BA42B-4012-B4D6-E90B-CA86AD3EEB52}"/>
                  </a:ext>
                </a:extLst>
              </p:cNvPr>
              <p:cNvSpPr/>
              <p:nvPr/>
            </p:nvSpPr>
            <p:spPr>
              <a:xfrm>
                <a:off x="573016" y="6166260"/>
                <a:ext cx="506158" cy="61055"/>
              </a:xfrm>
              <a:custGeom>
                <a:avLst/>
                <a:gdLst>
                  <a:gd name="connsiteX0" fmla="*/ 506159 w 506158"/>
                  <a:gd name="connsiteY0" fmla="*/ 0 h 61055"/>
                  <a:gd name="connsiteX1" fmla="*/ 253079 w 506158"/>
                  <a:gd name="connsiteY1" fmla="*/ 61055 h 61055"/>
                  <a:gd name="connsiteX2" fmla="*/ 0 w 506158"/>
                  <a:gd name="connsiteY2" fmla="*/ 0 h 61055"/>
                  <a:gd name="connsiteX3" fmla="*/ 506159 w 506158"/>
                  <a:gd name="connsiteY3" fmla="*/ 0 h 61055"/>
                  <a:gd name="connsiteX4" fmla="*/ 506159 w 506158"/>
                  <a:gd name="connsiteY4" fmla="*/ 0 h 61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158" h="61055">
                    <a:moveTo>
                      <a:pt x="506159" y="0"/>
                    </a:moveTo>
                    <a:lnTo>
                      <a:pt x="253079" y="61055"/>
                    </a:lnTo>
                    <a:lnTo>
                      <a:pt x="0" y="0"/>
                    </a:lnTo>
                    <a:lnTo>
                      <a:pt x="506159" y="0"/>
                    </a:lnTo>
                    <a:lnTo>
                      <a:pt x="506159" y="0"/>
                    </a:lnTo>
                    <a:close/>
                  </a:path>
                </a:pathLst>
              </a:custGeom>
              <a:solidFill>
                <a:srgbClr val="A7183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380">
                <a:extLst>
                  <a:ext uri="{FF2B5EF4-FFF2-40B4-BE49-F238E27FC236}">
                    <a16:creationId xmlns:a16="http://schemas.microsoft.com/office/drawing/2014/main" id="{F3F0F96D-1B88-E158-AC11-98EDE8FDFCA9}"/>
                  </a:ext>
                </a:extLst>
              </p:cNvPr>
              <p:cNvSpPr/>
              <p:nvPr/>
            </p:nvSpPr>
            <p:spPr>
              <a:xfrm>
                <a:off x="1090986" y="5997763"/>
                <a:ext cx="27812" cy="27717"/>
              </a:xfrm>
              <a:custGeom>
                <a:avLst/>
                <a:gdLst>
                  <a:gd name="connsiteX0" fmla="*/ 10954 w 27812"/>
                  <a:gd name="connsiteY0" fmla="*/ 7811 h 27717"/>
                  <a:gd name="connsiteX1" fmla="*/ 14288 w 27812"/>
                  <a:gd name="connsiteY1" fmla="*/ 7811 h 27717"/>
                  <a:gd name="connsiteX2" fmla="*/ 17812 w 27812"/>
                  <a:gd name="connsiteY2" fmla="*/ 10287 h 27717"/>
                  <a:gd name="connsiteX3" fmla="*/ 13525 w 27812"/>
                  <a:gd name="connsiteY3" fmla="*/ 12954 h 27717"/>
                  <a:gd name="connsiteX4" fmla="*/ 10858 w 27812"/>
                  <a:gd name="connsiteY4" fmla="*/ 12954 h 27717"/>
                  <a:gd name="connsiteX5" fmla="*/ 10858 w 27812"/>
                  <a:gd name="connsiteY5" fmla="*/ 7811 h 27717"/>
                  <a:gd name="connsiteX6" fmla="*/ 10858 w 27812"/>
                  <a:gd name="connsiteY6" fmla="*/ 7811 h 27717"/>
                  <a:gd name="connsiteX7" fmla="*/ 8477 w 27812"/>
                  <a:gd name="connsiteY7" fmla="*/ 21908 h 27717"/>
                  <a:gd name="connsiteX8" fmla="*/ 10954 w 27812"/>
                  <a:gd name="connsiteY8" fmla="*/ 21908 h 27717"/>
                  <a:gd name="connsiteX9" fmla="*/ 10954 w 27812"/>
                  <a:gd name="connsiteY9" fmla="*/ 14954 h 27717"/>
                  <a:gd name="connsiteX10" fmla="*/ 13621 w 27812"/>
                  <a:gd name="connsiteY10" fmla="*/ 14954 h 27717"/>
                  <a:gd name="connsiteX11" fmla="*/ 18002 w 27812"/>
                  <a:gd name="connsiteY11" fmla="*/ 21908 h 27717"/>
                  <a:gd name="connsiteX12" fmla="*/ 20669 w 27812"/>
                  <a:gd name="connsiteY12" fmla="*/ 21908 h 27717"/>
                  <a:gd name="connsiteX13" fmla="*/ 16002 w 27812"/>
                  <a:gd name="connsiteY13" fmla="*/ 14764 h 27717"/>
                  <a:gd name="connsiteX14" fmla="*/ 20288 w 27812"/>
                  <a:gd name="connsiteY14" fmla="*/ 10382 h 27717"/>
                  <a:gd name="connsiteX15" fmla="*/ 14669 w 27812"/>
                  <a:gd name="connsiteY15" fmla="*/ 5810 h 27717"/>
                  <a:gd name="connsiteX16" fmla="*/ 8382 w 27812"/>
                  <a:gd name="connsiteY16" fmla="*/ 5810 h 27717"/>
                  <a:gd name="connsiteX17" fmla="*/ 8382 w 27812"/>
                  <a:gd name="connsiteY17" fmla="*/ 22003 h 27717"/>
                  <a:gd name="connsiteX18" fmla="*/ 8382 w 27812"/>
                  <a:gd name="connsiteY18" fmla="*/ 22003 h 27717"/>
                  <a:gd name="connsiteX19" fmla="*/ 2477 w 27812"/>
                  <a:gd name="connsiteY19" fmla="*/ 13811 h 27717"/>
                  <a:gd name="connsiteX20" fmla="*/ 13907 w 27812"/>
                  <a:gd name="connsiteY20" fmla="*/ 2096 h 27717"/>
                  <a:gd name="connsiteX21" fmla="*/ 25241 w 27812"/>
                  <a:gd name="connsiteY21" fmla="*/ 13811 h 27717"/>
                  <a:gd name="connsiteX22" fmla="*/ 13907 w 27812"/>
                  <a:gd name="connsiteY22" fmla="*/ 25718 h 27717"/>
                  <a:gd name="connsiteX23" fmla="*/ 2477 w 27812"/>
                  <a:gd name="connsiteY23" fmla="*/ 13811 h 27717"/>
                  <a:gd name="connsiteX24" fmla="*/ 2477 w 27812"/>
                  <a:gd name="connsiteY24" fmla="*/ 13811 h 27717"/>
                  <a:gd name="connsiteX25" fmla="*/ 0 w 27812"/>
                  <a:gd name="connsiteY25" fmla="*/ 13811 h 27717"/>
                  <a:gd name="connsiteX26" fmla="*/ 13907 w 27812"/>
                  <a:gd name="connsiteY26" fmla="*/ 27718 h 27717"/>
                  <a:gd name="connsiteX27" fmla="*/ 27813 w 27812"/>
                  <a:gd name="connsiteY27" fmla="*/ 13811 h 27717"/>
                  <a:gd name="connsiteX28" fmla="*/ 13907 w 27812"/>
                  <a:gd name="connsiteY28" fmla="*/ 0 h 27717"/>
                  <a:gd name="connsiteX29" fmla="*/ 0 w 27812"/>
                  <a:gd name="connsiteY29" fmla="*/ 13811 h 27717"/>
                  <a:gd name="connsiteX30" fmla="*/ 0 w 27812"/>
                  <a:gd name="connsiteY30" fmla="*/ 13811 h 27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7812" h="27717">
                    <a:moveTo>
                      <a:pt x="10954" y="7811"/>
                    </a:moveTo>
                    <a:lnTo>
                      <a:pt x="14288" y="7811"/>
                    </a:lnTo>
                    <a:cubicBezTo>
                      <a:pt x="16002" y="7811"/>
                      <a:pt x="17812" y="8096"/>
                      <a:pt x="17812" y="10287"/>
                    </a:cubicBezTo>
                    <a:cubicBezTo>
                      <a:pt x="17812" y="12859"/>
                      <a:pt x="15812" y="12954"/>
                      <a:pt x="13525" y="12954"/>
                    </a:cubicBezTo>
                    <a:lnTo>
                      <a:pt x="10858" y="12954"/>
                    </a:lnTo>
                    <a:lnTo>
                      <a:pt x="10858" y="7811"/>
                    </a:lnTo>
                    <a:lnTo>
                      <a:pt x="10858" y="7811"/>
                    </a:lnTo>
                    <a:close/>
                    <a:moveTo>
                      <a:pt x="8477" y="21908"/>
                    </a:moveTo>
                    <a:lnTo>
                      <a:pt x="10954" y="21908"/>
                    </a:lnTo>
                    <a:lnTo>
                      <a:pt x="10954" y="14954"/>
                    </a:lnTo>
                    <a:lnTo>
                      <a:pt x="13621" y="14954"/>
                    </a:lnTo>
                    <a:lnTo>
                      <a:pt x="18002" y="21908"/>
                    </a:lnTo>
                    <a:lnTo>
                      <a:pt x="20669" y="21908"/>
                    </a:lnTo>
                    <a:lnTo>
                      <a:pt x="16002" y="14764"/>
                    </a:lnTo>
                    <a:cubicBezTo>
                      <a:pt x="18383" y="14478"/>
                      <a:pt x="20288" y="13335"/>
                      <a:pt x="20288" y="10382"/>
                    </a:cubicBezTo>
                    <a:cubicBezTo>
                      <a:pt x="20288" y="7239"/>
                      <a:pt x="18479" y="5810"/>
                      <a:pt x="14669" y="5810"/>
                    </a:cubicBezTo>
                    <a:lnTo>
                      <a:pt x="8382" y="5810"/>
                    </a:lnTo>
                    <a:lnTo>
                      <a:pt x="8382" y="22003"/>
                    </a:lnTo>
                    <a:lnTo>
                      <a:pt x="8382" y="22003"/>
                    </a:lnTo>
                    <a:close/>
                    <a:moveTo>
                      <a:pt x="2477" y="13811"/>
                    </a:moveTo>
                    <a:cubicBezTo>
                      <a:pt x="2477" y="7144"/>
                      <a:pt x="7429" y="2096"/>
                      <a:pt x="13907" y="2096"/>
                    </a:cubicBezTo>
                    <a:cubicBezTo>
                      <a:pt x="20383" y="2096"/>
                      <a:pt x="25241" y="7239"/>
                      <a:pt x="25241" y="13811"/>
                    </a:cubicBezTo>
                    <a:cubicBezTo>
                      <a:pt x="25241" y="20384"/>
                      <a:pt x="20288" y="25718"/>
                      <a:pt x="13907" y="25718"/>
                    </a:cubicBezTo>
                    <a:cubicBezTo>
                      <a:pt x="7525" y="25718"/>
                      <a:pt x="2477" y="20574"/>
                      <a:pt x="2477" y="13811"/>
                    </a:cubicBezTo>
                    <a:lnTo>
                      <a:pt x="2477" y="13811"/>
                    </a:lnTo>
                    <a:close/>
                    <a:moveTo>
                      <a:pt x="0" y="13811"/>
                    </a:moveTo>
                    <a:cubicBezTo>
                      <a:pt x="0" y="21717"/>
                      <a:pt x="6382" y="27718"/>
                      <a:pt x="13907" y="27718"/>
                    </a:cubicBezTo>
                    <a:cubicBezTo>
                      <a:pt x="21431" y="27718"/>
                      <a:pt x="27813" y="21717"/>
                      <a:pt x="27813" y="13811"/>
                    </a:cubicBezTo>
                    <a:cubicBezTo>
                      <a:pt x="27813" y="5906"/>
                      <a:pt x="21527" y="0"/>
                      <a:pt x="13907" y="0"/>
                    </a:cubicBezTo>
                    <a:cubicBezTo>
                      <a:pt x="6287" y="0"/>
                      <a:pt x="0" y="6001"/>
                      <a:pt x="0" y="13811"/>
                    </a:cubicBezTo>
                    <a:lnTo>
                      <a:pt x="0" y="13811"/>
                    </a:lnTo>
                    <a:close/>
                  </a:path>
                </a:pathLst>
              </a:custGeom>
              <a:solidFill>
                <a:srgbClr val="27364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" name="Freihandform: Form 381">
                <a:extLst>
                  <a:ext uri="{FF2B5EF4-FFF2-40B4-BE49-F238E27FC236}">
                    <a16:creationId xmlns:a16="http://schemas.microsoft.com/office/drawing/2014/main" id="{80DBB823-EABB-6A3B-A3B2-2041D5BA0C51}"/>
                  </a:ext>
                </a:extLst>
              </p:cNvPr>
              <p:cNvSpPr/>
              <p:nvPr/>
            </p:nvSpPr>
            <p:spPr>
              <a:xfrm>
                <a:off x="550728" y="5997763"/>
                <a:ext cx="69056" cy="132588"/>
              </a:xfrm>
              <a:custGeom>
                <a:avLst/>
                <a:gdLst>
                  <a:gd name="connsiteX0" fmla="*/ 0 w 69056"/>
                  <a:gd name="connsiteY0" fmla="*/ 132588 h 132588"/>
                  <a:gd name="connsiteX1" fmla="*/ 69056 w 69056"/>
                  <a:gd name="connsiteY1" fmla="*/ 132588 h 132588"/>
                  <a:gd name="connsiteX2" fmla="*/ 69056 w 69056"/>
                  <a:gd name="connsiteY2" fmla="*/ 119539 h 132588"/>
                  <a:gd name="connsiteX3" fmla="*/ 27527 w 69056"/>
                  <a:gd name="connsiteY3" fmla="*/ 119539 h 132588"/>
                  <a:gd name="connsiteX4" fmla="*/ 27527 w 69056"/>
                  <a:gd name="connsiteY4" fmla="*/ 69342 h 132588"/>
                  <a:gd name="connsiteX5" fmla="*/ 62008 w 69056"/>
                  <a:gd name="connsiteY5" fmla="*/ 69342 h 132588"/>
                  <a:gd name="connsiteX6" fmla="*/ 62008 w 69056"/>
                  <a:gd name="connsiteY6" fmla="*/ 56388 h 132588"/>
                  <a:gd name="connsiteX7" fmla="*/ 27527 w 69056"/>
                  <a:gd name="connsiteY7" fmla="*/ 56388 h 132588"/>
                  <a:gd name="connsiteX8" fmla="*/ 27527 w 69056"/>
                  <a:gd name="connsiteY8" fmla="*/ 12954 h 132588"/>
                  <a:gd name="connsiteX9" fmla="*/ 67913 w 69056"/>
                  <a:gd name="connsiteY9" fmla="*/ 12954 h 132588"/>
                  <a:gd name="connsiteX10" fmla="*/ 67913 w 69056"/>
                  <a:gd name="connsiteY10" fmla="*/ 0 h 132588"/>
                  <a:gd name="connsiteX11" fmla="*/ 0 w 69056"/>
                  <a:gd name="connsiteY11" fmla="*/ 0 h 132588"/>
                  <a:gd name="connsiteX12" fmla="*/ 0 w 69056"/>
                  <a:gd name="connsiteY12" fmla="*/ 132588 h 132588"/>
                  <a:gd name="connsiteX13" fmla="*/ 0 w 69056"/>
                  <a:gd name="connsiteY13" fmla="*/ 132588 h 132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9056" h="132588">
                    <a:moveTo>
                      <a:pt x="0" y="132588"/>
                    </a:moveTo>
                    <a:lnTo>
                      <a:pt x="69056" y="132588"/>
                    </a:lnTo>
                    <a:lnTo>
                      <a:pt x="69056" y="119539"/>
                    </a:lnTo>
                    <a:lnTo>
                      <a:pt x="27527" y="119539"/>
                    </a:lnTo>
                    <a:lnTo>
                      <a:pt x="27527" y="69342"/>
                    </a:lnTo>
                    <a:lnTo>
                      <a:pt x="62008" y="69342"/>
                    </a:lnTo>
                    <a:lnTo>
                      <a:pt x="62008" y="56388"/>
                    </a:lnTo>
                    <a:lnTo>
                      <a:pt x="27527" y="56388"/>
                    </a:lnTo>
                    <a:lnTo>
                      <a:pt x="27527" y="12954"/>
                    </a:lnTo>
                    <a:lnTo>
                      <a:pt x="67913" y="12954"/>
                    </a:lnTo>
                    <a:lnTo>
                      <a:pt x="67913" y="0"/>
                    </a:lnTo>
                    <a:lnTo>
                      <a:pt x="0" y="0"/>
                    </a:lnTo>
                    <a:lnTo>
                      <a:pt x="0" y="132588"/>
                    </a:lnTo>
                    <a:lnTo>
                      <a:pt x="0" y="132588"/>
                    </a:lnTo>
                    <a:close/>
                  </a:path>
                </a:pathLst>
              </a:custGeom>
              <a:solidFill>
                <a:srgbClr val="27364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" name="Freihandform: Form 382">
                <a:extLst>
                  <a:ext uri="{FF2B5EF4-FFF2-40B4-BE49-F238E27FC236}">
                    <a16:creationId xmlns:a16="http://schemas.microsoft.com/office/drawing/2014/main" id="{E072C5A9-F6AB-DEE6-D9F9-0D9C64DFC9C6}"/>
                  </a:ext>
                </a:extLst>
              </p:cNvPr>
              <p:cNvSpPr/>
              <p:nvPr/>
            </p:nvSpPr>
            <p:spPr>
              <a:xfrm>
                <a:off x="807046" y="6035005"/>
                <a:ext cx="79057" cy="97821"/>
              </a:xfrm>
              <a:custGeom>
                <a:avLst/>
                <a:gdLst>
                  <a:gd name="connsiteX0" fmla="*/ 78867 w 79057"/>
                  <a:gd name="connsiteY0" fmla="*/ 49149 h 97821"/>
                  <a:gd name="connsiteX1" fmla="*/ 79058 w 79057"/>
                  <a:gd name="connsiteY1" fmla="*/ 42196 h 97821"/>
                  <a:gd name="connsiteX2" fmla="*/ 41529 w 79057"/>
                  <a:gd name="connsiteY2" fmla="*/ 0 h 97821"/>
                  <a:gd name="connsiteX3" fmla="*/ 0 w 79057"/>
                  <a:gd name="connsiteY3" fmla="*/ 47816 h 97821"/>
                  <a:gd name="connsiteX4" fmla="*/ 44006 w 79057"/>
                  <a:gd name="connsiteY4" fmla="*/ 97822 h 97821"/>
                  <a:gd name="connsiteX5" fmla="*/ 71914 w 79057"/>
                  <a:gd name="connsiteY5" fmla="*/ 89059 h 97821"/>
                  <a:gd name="connsiteX6" fmla="*/ 73628 w 79057"/>
                  <a:gd name="connsiteY6" fmla="*/ 76486 h 97821"/>
                  <a:gd name="connsiteX7" fmla="*/ 51721 w 79057"/>
                  <a:gd name="connsiteY7" fmla="*/ 85249 h 97821"/>
                  <a:gd name="connsiteX8" fmla="*/ 25527 w 79057"/>
                  <a:gd name="connsiteY8" fmla="*/ 49244 h 97821"/>
                  <a:gd name="connsiteX9" fmla="*/ 78867 w 79057"/>
                  <a:gd name="connsiteY9" fmla="*/ 49244 h 97821"/>
                  <a:gd name="connsiteX10" fmla="*/ 25527 w 79057"/>
                  <a:gd name="connsiteY10" fmla="*/ 39338 h 97821"/>
                  <a:gd name="connsiteX11" fmla="*/ 41719 w 79057"/>
                  <a:gd name="connsiteY11" fmla="*/ 8287 h 97821"/>
                  <a:gd name="connsiteX12" fmla="*/ 55626 w 79057"/>
                  <a:gd name="connsiteY12" fmla="*/ 39338 h 97821"/>
                  <a:gd name="connsiteX13" fmla="*/ 25527 w 79057"/>
                  <a:gd name="connsiteY13" fmla="*/ 39338 h 97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9057" h="97821">
                    <a:moveTo>
                      <a:pt x="78867" y="49149"/>
                    </a:moveTo>
                    <a:cubicBezTo>
                      <a:pt x="79058" y="45434"/>
                      <a:pt x="79058" y="44482"/>
                      <a:pt x="79058" y="42196"/>
                    </a:cubicBezTo>
                    <a:cubicBezTo>
                      <a:pt x="79058" y="15240"/>
                      <a:pt x="64484" y="0"/>
                      <a:pt x="41529" y="0"/>
                    </a:cubicBezTo>
                    <a:cubicBezTo>
                      <a:pt x="16859" y="0"/>
                      <a:pt x="0" y="18383"/>
                      <a:pt x="0" y="47816"/>
                    </a:cubicBezTo>
                    <a:cubicBezTo>
                      <a:pt x="0" y="79248"/>
                      <a:pt x="17240" y="97822"/>
                      <a:pt x="44006" y="97822"/>
                    </a:cubicBezTo>
                    <a:cubicBezTo>
                      <a:pt x="54102" y="97822"/>
                      <a:pt x="61913" y="95726"/>
                      <a:pt x="71914" y="89059"/>
                    </a:cubicBezTo>
                    <a:lnTo>
                      <a:pt x="73628" y="76486"/>
                    </a:lnTo>
                    <a:cubicBezTo>
                      <a:pt x="65723" y="82868"/>
                      <a:pt x="58865" y="85249"/>
                      <a:pt x="51721" y="85249"/>
                    </a:cubicBezTo>
                    <a:cubicBezTo>
                      <a:pt x="34862" y="85249"/>
                      <a:pt x="25527" y="71342"/>
                      <a:pt x="25527" y="49244"/>
                    </a:cubicBezTo>
                    <a:lnTo>
                      <a:pt x="78867" y="49244"/>
                    </a:lnTo>
                    <a:close/>
                    <a:moveTo>
                      <a:pt x="25527" y="39338"/>
                    </a:moveTo>
                    <a:cubicBezTo>
                      <a:pt x="26194" y="21146"/>
                      <a:pt x="31433" y="8287"/>
                      <a:pt x="41719" y="8287"/>
                    </a:cubicBezTo>
                    <a:cubicBezTo>
                      <a:pt x="50768" y="8287"/>
                      <a:pt x="55245" y="20765"/>
                      <a:pt x="55626" y="39338"/>
                    </a:cubicBezTo>
                    <a:lnTo>
                      <a:pt x="25527" y="39338"/>
                    </a:lnTo>
                    <a:close/>
                  </a:path>
                </a:pathLst>
              </a:custGeom>
              <a:solidFill>
                <a:srgbClr val="27364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" name="Freihandform: Form 383">
                <a:extLst>
                  <a:ext uri="{FF2B5EF4-FFF2-40B4-BE49-F238E27FC236}">
                    <a16:creationId xmlns:a16="http://schemas.microsoft.com/office/drawing/2014/main" id="{B2A201C0-8F84-A3F3-F165-B8CA1F377AC1}"/>
                  </a:ext>
                </a:extLst>
              </p:cNvPr>
              <p:cNvSpPr/>
              <p:nvPr/>
            </p:nvSpPr>
            <p:spPr>
              <a:xfrm>
                <a:off x="728464" y="6035387"/>
                <a:ext cx="70866" cy="97059"/>
              </a:xfrm>
              <a:custGeom>
                <a:avLst/>
                <a:gdLst>
                  <a:gd name="connsiteX0" fmla="*/ 70866 w 70866"/>
                  <a:gd name="connsiteY0" fmla="*/ 7144 h 97059"/>
                  <a:gd name="connsiteX1" fmla="*/ 44767 w 70866"/>
                  <a:gd name="connsiteY1" fmla="*/ 0 h 97059"/>
                  <a:gd name="connsiteX2" fmla="*/ 0 w 70866"/>
                  <a:gd name="connsiteY2" fmla="*/ 50197 h 97059"/>
                  <a:gd name="connsiteX3" fmla="*/ 43148 w 70866"/>
                  <a:gd name="connsiteY3" fmla="*/ 97060 h 97059"/>
                  <a:gd name="connsiteX4" fmla="*/ 66961 w 70866"/>
                  <a:gd name="connsiteY4" fmla="*/ 90964 h 97059"/>
                  <a:gd name="connsiteX5" fmla="*/ 69437 w 70866"/>
                  <a:gd name="connsiteY5" fmla="*/ 78772 h 97059"/>
                  <a:gd name="connsiteX6" fmla="*/ 51244 w 70866"/>
                  <a:gd name="connsiteY6" fmla="*/ 84677 h 97059"/>
                  <a:gd name="connsiteX7" fmla="*/ 26384 w 70866"/>
                  <a:gd name="connsiteY7" fmla="*/ 48482 h 97059"/>
                  <a:gd name="connsiteX8" fmla="*/ 47149 w 70866"/>
                  <a:gd name="connsiteY8" fmla="*/ 10287 h 97059"/>
                  <a:gd name="connsiteX9" fmla="*/ 67056 w 70866"/>
                  <a:gd name="connsiteY9" fmla="*/ 18859 h 97059"/>
                  <a:gd name="connsiteX10" fmla="*/ 70866 w 70866"/>
                  <a:gd name="connsiteY10" fmla="*/ 7144 h 97059"/>
                  <a:gd name="connsiteX11" fmla="*/ 70866 w 70866"/>
                  <a:gd name="connsiteY11" fmla="*/ 7144 h 97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0866" h="97059">
                    <a:moveTo>
                      <a:pt x="70866" y="7144"/>
                    </a:moveTo>
                    <a:cubicBezTo>
                      <a:pt x="62675" y="1619"/>
                      <a:pt x="52864" y="0"/>
                      <a:pt x="44767" y="0"/>
                    </a:cubicBezTo>
                    <a:cubicBezTo>
                      <a:pt x="18098" y="0"/>
                      <a:pt x="0" y="20003"/>
                      <a:pt x="0" y="50197"/>
                    </a:cubicBezTo>
                    <a:cubicBezTo>
                      <a:pt x="0" y="78677"/>
                      <a:pt x="17621" y="97060"/>
                      <a:pt x="43148" y="97060"/>
                    </a:cubicBezTo>
                    <a:cubicBezTo>
                      <a:pt x="52483" y="97060"/>
                      <a:pt x="59055" y="96203"/>
                      <a:pt x="66961" y="90964"/>
                    </a:cubicBezTo>
                    <a:lnTo>
                      <a:pt x="69437" y="78772"/>
                    </a:lnTo>
                    <a:cubicBezTo>
                      <a:pt x="62579" y="83725"/>
                      <a:pt x="57817" y="84677"/>
                      <a:pt x="51244" y="84677"/>
                    </a:cubicBezTo>
                    <a:cubicBezTo>
                      <a:pt x="35623" y="84677"/>
                      <a:pt x="26384" y="72295"/>
                      <a:pt x="26384" y="48482"/>
                    </a:cubicBezTo>
                    <a:cubicBezTo>
                      <a:pt x="26384" y="24670"/>
                      <a:pt x="34481" y="10858"/>
                      <a:pt x="47149" y="10287"/>
                    </a:cubicBezTo>
                    <a:cubicBezTo>
                      <a:pt x="57817" y="9811"/>
                      <a:pt x="62865" y="14954"/>
                      <a:pt x="67056" y="18859"/>
                    </a:cubicBezTo>
                    <a:lnTo>
                      <a:pt x="70866" y="7144"/>
                    </a:lnTo>
                    <a:lnTo>
                      <a:pt x="70866" y="7144"/>
                    </a:lnTo>
                    <a:close/>
                  </a:path>
                </a:pathLst>
              </a:custGeom>
              <a:solidFill>
                <a:srgbClr val="27364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Freihandform: Form 384">
                <a:extLst>
                  <a:ext uri="{FF2B5EF4-FFF2-40B4-BE49-F238E27FC236}">
                    <a16:creationId xmlns:a16="http://schemas.microsoft.com/office/drawing/2014/main" id="{C5664786-929F-25C2-52C5-835AB9F7B4F9}"/>
                  </a:ext>
                </a:extLst>
              </p:cNvPr>
              <p:cNvSpPr/>
              <p:nvPr/>
            </p:nvSpPr>
            <p:spPr>
              <a:xfrm>
                <a:off x="903534" y="6035577"/>
                <a:ext cx="52578" cy="94868"/>
              </a:xfrm>
              <a:custGeom>
                <a:avLst/>
                <a:gdLst>
                  <a:gd name="connsiteX0" fmla="*/ 52578 w 52578"/>
                  <a:gd name="connsiteY0" fmla="*/ 190 h 94868"/>
                  <a:gd name="connsiteX1" fmla="*/ 48578 w 52578"/>
                  <a:gd name="connsiteY1" fmla="*/ 0 h 94868"/>
                  <a:gd name="connsiteX2" fmla="*/ 23241 w 52578"/>
                  <a:gd name="connsiteY2" fmla="*/ 25432 h 94868"/>
                  <a:gd name="connsiteX3" fmla="*/ 23241 w 52578"/>
                  <a:gd name="connsiteY3" fmla="*/ 2000 h 94868"/>
                  <a:gd name="connsiteX4" fmla="*/ 0 w 52578"/>
                  <a:gd name="connsiteY4" fmla="*/ 2000 h 94868"/>
                  <a:gd name="connsiteX5" fmla="*/ 0 w 52578"/>
                  <a:gd name="connsiteY5" fmla="*/ 94869 h 94868"/>
                  <a:gd name="connsiteX6" fmla="*/ 23241 w 52578"/>
                  <a:gd name="connsiteY6" fmla="*/ 94869 h 94868"/>
                  <a:gd name="connsiteX7" fmla="*/ 23241 w 52578"/>
                  <a:gd name="connsiteY7" fmla="*/ 45244 h 94868"/>
                  <a:gd name="connsiteX8" fmla="*/ 41243 w 52578"/>
                  <a:gd name="connsiteY8" fmla="*/ 25432 h 94868"/>
                  <a:gd name="connsiteX9" fmla="*/ 51530 w 52578"/>
                  <a:gd name="connsiteY9" fmla="*/ 28384 h 94868"/>
                  <a:gd name="connsiteX10" fmla="*/ 52578 w 52578"/>
                  <a:gd name="connsiteY10" fmla="*/ 286 h 94868"/>
                  <a:gd name="connsiteX11" fmla="*/ 52578 w 52578"/>
                  <a:gd name="connsiteY11" fmla="*/ 286 h 94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578" h="94868">
                    <a:moveTo>
                      <a:pt x="52578" y="190"/>
                    </a:moveTo>
                    <a:cubicBezTo>
                      <a:pt x="50673" y="0"/>
                      <a:pt x="49816" y="0"/>
                      <a:pt x="48578" y="0"/>
                    </a:cubicBezTo>
                    <a:cubicBezTo>
                      <a:pt x="37719" y="0"/>
                      <a:pt x="30385" y="7334"/>
                      <a:pt x="23241" y="25432"/>
                    </a:cubicBezTo>
                    <a:lnTo>
                      <a:pt x="23241" y="2000"/>
                    </a:lnTo>
                    <a:lnTo>
                      <a:pt x="0" y="2000"/>
                    </a:lnTo>
                    <a:lnTo>
                      <a:pt x="0" y="94869"/>
                    </a:lnTo>
                    <a:lnTo>
                      <a:pt x="23241" y="94869"/>
                    </a:lnTo>
                    <a:lnTo>
                      <a:pt x="23241" y="45244"/>
                    </a:lnTo>
                    <a:cubicBezTo>
                      <a:pt x="23241" y="34385"/>
                      <a:pt x="31242" y="25432"/>
                      <a:pt x="41243" y="25432"/>
                    </a:cubicBezTo>
                    <a:cubicBezTo>
                      <a:pt x="44577" y="25432"/>
                      <a:pt x="47339" y="25908"/>
                      <a:pt x="51530" y="28384"/>
                    </a:cubicBezTo>
                    <a:lnTo>
                      <a:pt x="52578" y="286"/>
                    </a:lnTo>
                    <a:lnTo>
                      <a:pt x="52578" y="286"/>
                    </a:lnTo>
                    <a:close/>
                  </a:path>
                </a:pathLst>
              </a:custGeom>
              <a:solidFill>
                <a:srgbClr val="27364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: Form 385">
                <a:extLst>
                  <a:ext uri="{FF2B5EF4-FFF2-40B4-BE49-F238E27FC236}">
                    <a16:creationId xmlns:a16="http://schemas.microsoft.com/office/drawing/2014/main" id="{6F7CA5E5-12DA-9ED9-0760-00C2156593ED}"/>
                  </a:ext>
                </a:extLst>
              </p:cNvPr>
              <p:cNvSpPr/>
              <p:nvPr/>
            </p:nvSpPr>
            <p:spPr>
              <a:xfrm>
                <a:off x="634452" y="6037482"/>
                <a:ext cx="76390" cy="94488"/>
              </a:xfrm>
              <a:custGeom>
                <a:avLst/>
                <a:gdLst>
                  <a:gd name="connsiteX0" fmla="*/ 53150 w 76390"/>
                  <a:gd name="connsiteY0" fmla="*/ 92869 h 94488"/>
                  <a:gd name="connsiteX1" fmla="*/ 76391 w 76390"/>
                  <a:gd name="connsiteY1" fmla="*/ 92869 h 94488"/>
                  <a:gd name="connsiteX2" fmla="*/ 76391 w 76390"/>
                  <a:gd name="connsiteY2" fmla="*/ 0 h 94488"/>
                  <a:gd name="connsiteX3" fmla="*/ 53150 w 76390"/>
                  <a:gd name="connsiteY3" fmla="*/ 0 h 94488"/>
                  <a:gd name="connsiteX4" fmla="*/ 53150 w 76390"/>
                  <a:gd name="connsiteY4" fmla="*/ 52864 h 94488"/>
                  <a:gd name="connsiteX5" fmla="*/ 37814 w 76390"/>
                  <a:gd name="connsiteY5" fmla="*/ 78486 h 94488"/>
                  <a:gd name="connsiteX6" fmla="*/ 23241 w 76390"/>
                  <a:gd name="connsiteY6" fmla="*/ 59246 h 94488"/>
                  <a:gd name="connsiteX7" fmla="*/ 23241 w 76390"/>
                  <a:gd name="connsiteY7" fmla="*/ 0 h 94488"/>
                  <a:gd name="connsiteX8" fmla="*/ 0 w 76390"/>
                  <a:gd name="connsiteY8" fmla="*/ 0 h 94488"/>
                  <a:gd name="connsiteX9" fmla="*/ 0 w 76390"/>
                  <a:gd name="connsiteY9" fmla="*/ 61817 h 94488"/>
                  <a:gd name="connsiteX10" fmla="*/ 27432 w 76390"/>
                  <a:gd name="connsiteY10" fmla="*/ 94488 h 94488"/>
                  <a:gd name="connsiteX11" fmla="*/ 53245 w 76390"/>
                  <a:gd name="connsiteY11" fmla="*/ 78581 h 94488"/>
                  <a:gd name="connsiteX12" fmla="*/ 53245 w 76390"/>
                  <a:gd name="connsiteY12" fmla="*/ 92774 h 94488"/>
                  <a:gd name="connsiteX13" fmla="*/ 53245 w 76390"/>
                  <a:gd name="connsiteY13" fmla="*/ 92774 h 94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6390" h="94488">
                    <a:moveTo>
                      <a:pt x="53150" y="92869"/>
                    </a:moveTo>
                    <a:lnTo>
                      <a:pt x="76391" y="92869"/>
                    </a:lnTo>
                    <a:lnTo>
                      <a:pt x="76391" y="0"/>
                    </a:lnTo>
                    <a:lnTo>
                      <a:pt x="53150" y="0"/>
                    </a:lnTo>
                    <a:lnTo>
                      <a:pt x="53150" y="52864"/>
                    </a:lnTo>
                    <a:cubicBezTo>
                      <a:pt x="53150" y="69152"/>
                      <a:pt x="48387" y="78486"/>
                      <a:pt x="37814" y="78486"/>
                    </a:cubicBezTo>
                    <a:cubicBezTo>
                      <a:pt x="27242" y="78486"/>
                      <a:pt x="23241" y="70866"/>
                      <a:pt x="23241" y="59246"/>
                    </a:cubicBezTo>
                    <a:lnTo>
                      <a:pt x="23241" y="0"/>
                    </a:lnTo>
                    <a:lnTo>
                      <a:pt x="0" y="0"/>
                    </a:lnTo>
                    <a:lnTo>
                      <a:pt x="0" y="61817"/>
                    </a:lnTo>
                    <a:cubicBezTo>
                      <a:pt x="0" y="88011"/>
                      <a:pt x="12954" y="94488"/>
                      <a:pt x="27432" y="94488"/>
                    </a:cubicBezTo>
                    <a:cubicBezTo>
                      <a:pt x="39624" y="94488"/>
                      <a:pt x="48006" y="87440"/>
                      <a:pt x="53245" y="78581"/>
                    </a:cubicBezTo>
                    <a:lnTo>
                      <a:pt x="53245" y="92774"/>
                    </a:lnTo>
                    <a:lnTo>
                      <a:pt x="53245" y="92774"/>
                    </a:lnTo>
                    <a:close/>
                  </a:path>
                </a:pathLst>
              </a:custGeom>
              <a:solidFill>
                <a:srgbClr val="27364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Freihandform: Form 386">
                <a:extLst>
                  <a:ext uri="{FF2B5EF4-FFF2-40B4-BE49-F238E27FC236}">
                    <a16:creationId xmlns:a16="http://schemas.microsoft.com/office/drawing/2014/main" id="{EF228D46-7C68-73F9-5B5F-E70686F850ED}"/>
                  </a:ext>
                </a:extLst>
              </p:cNvPr>
              <p:cNvSpPr/>
              <p:nvPr/>
            </p:nvSpPr>
            <p:spPr>
              <a:xfrm>
                <a:off x="1020025" y="6035387"/>
                <a:ext cx="75152" cy="95059"/>
              </a:xfrm>
              <a:custGeom>
                <a:avLst/>
                <a:gdLst>
                  <a:gd name="connsiteX0" fmla="*/ 0 w 75152"/>
                  <a:gd name="connsiteY0" fmla="*/ 94964 h 95059"/>
                  <a:gd name="connsiteX1" fmla="*/ 23241 w 75152"/>
                  <a:gd name="connsiteY1" fmla="*/ 94964 h 95059"/>
                  <a:gd name="connsiteX2" fmla="*/ 23241 w 75152"/>
                  <a:gd name="connsiteY2" fmla="*/ 44005 h 95059"/>
                  <a:gd name="connsiteX3" fmla="*/ 38005 w 75152"/>
                  <a:gd name="connsiteY3" fmla="*/ 16478 h 95059"/>
                  <a:gd name="connsiteX4" fmla="*/ 51911 w 75152"/>
                  <a:gd name="connsiteY4" fmla="*/ 38576 h 95059"/>
                  <a:gd name="connsiteX5" fmla="*/ 51911 w 75152"/>
                  <a:gd name="connsiteY5" fmla="*/ 94964 h 95059"/>
                  <a:gd name="connsiteX6" fmla="*/ 75152 w 75152"/>
                  <a:gd name="connsiteY6" fmla="*/ 94964 h 95059"/>
                  <a:gd name="connsiteX7" fmla="*/ 75152 w 75152"/>
                  <a:gd name="connsiteY7" fmla="*/ 30861 h 95059"/>
                  <a:gd name="connsiteX8" fmla="*/ 48863 w 75152"/>
                  <a:gd name="connsiteY8" fmla="*/ 0 h 95059"/>
                  <a:gd name="connsiteX9" fmla="*/ 23241 w 75152"/>
                  <a:gd name="connsiteY9" fmla="*/ 16097 h 95059"/>
                  <a:gd name="connsiteX10" fmla="*/ 23241 w 75152"/>
                  <a:gd name="connsiteY10" fmla="*/ 2191 h 95059"/>
                  <a:gd name="connsiteX11" fmla="*/ 0 w 75152"/>
                  <a:gd name="connsiteY11" fmla="*/ 2191 h 95059"/>
                  <a:gd name="connsiteX12" fmla="*/ 0 w 75152"/>
                  <a:gd name="connsiteY12" fmla="*/ 95059 h 95059"/>
                  <a:gd name="connsiteX13" fmla="*/ 0 w 75152"/>
                  <a:gd name="connsiteY13" fmla="*/ 95059 h 95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5152" h="95059">
                    <a:moveTo>
                      <a:pt x="0" y="94964"/>
                    </a:moveTo>
                    <a:lnTo>
                      <a:pt x="23241" y="94964"/>
                    </a:lnTo>
                    <a:lnTo>
                      <a:pt x="23241" y="44005"/>
                    </a:lnTo>
                    <a:cubicBezTo>
                      <a:pt x="23241" y="18764"/>
                      <a:pt x="32575" y="16478"/>
                      <a:pt x="38005" y="16478"/>
                    </a:cubicBezTo>
                    <a:cubicBezTo>
                      <a:pt x="45053" y="16478"/>
                      <a:pt x="51911" y="21336"/>
                      <a:pt x="51911" y="38576"/>
                    </a:cubicBezTo>
                    <a:lnTo>
                      <a:pt x="51911" y="94964"/>
                    </a:lnTo>
                    <a:lnTo>
                      <a:pt x="75152" y="94964"/>
                    </a:lnTo>
                    <a:lnTo>
                      <a:pt x="75152" y="30861"/>
                    </a:lnTo>
                    <a:cubicBezTo>
                      <a:pt x="75152" y="5334"/>
                      <a:pt x="59912" y="0"/>
                      <a:pt x="48863" y="0"/>
                    </a:cubicBezTo>
                    <a:cubicBezTo>
                      <a:pt x="38862" y="0"/>
                      <a:pt x="29528" y="5715"/>
                      <a:pt x="23241" y="16097"/>
                    </a:cubicBezTo>
                    <a:lnTo>
                      <a:pt x="23241" y="2191"/>
                    </a:lnTo>
                    <a:lnTo>
                      <a:pt x="0" y="2191"/>
                    </a:lnTo>
                    <a:lnTo>
                      <a:pt x="0" y="95059"/>
                    </a:lnTo>
                    <a:lnTo>
                      <a:pt x="0" y="95059"/>
                    </a:lnTo>
                    <a:close/>
                  </a:path>
                </a:pathLst>
              </a:custGeom>
              <a:solidFill>
                <a:srgbClr val="27364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Freihandform: Form 387">
                <a:extLst>
                  <a:ext uri="{FF2B5EF4-FFF2-40B4-BE49-F238E27FC236}">
                    <a16:creationId xmlns:a16="http://schemas.microsoft.com/office/drawing/2014/main" id="{49D2D95A-0EAD-F105-3F21-07A93EFD6E34}"/>
                  </a:ext>
                </a:extLst>
              </p:cNvPr>
              <p:cNvSpPr/>
              <p:nvPr/>
            </p:nvSpPr>
            <p:spPr>
              <a:xfrm>
                <a:off x="971542" y="5997763"/>
                <a:ext cx="24098" cy="24098"/>
              </a:xfrm>
              <a:custGeom>
                <a:avLst/>
                <a:gdLst>
                  <a:gd name="connsiteX0" fmla="*/ 0 w 24098"/>
                  <a:gd name="connsiteY0" fmla="*/ 0 h 24098"/>
                  <a:gd name="connsiteX1" fmla="*/ 24098 w 24098"/>
                  <a:gd name="connsiteY1" fmla="*/ 0 h 24098"/>
                  <a:gd name="connsiteX2" fmla="*/ 24098 w 24098"/>
                  <a:gd name="connsiteY2" fmla="*/ 24098 h 24098"/>
                  <a:gd name="connsiteX3" fmla="*/ 0 w 24098"/>
                  <a:gd name="connsiteY3" fmla="*/ 24098 h 24098"/>
                  <a:gd name="connsiteX4" fmla="*/ 0 w 24098"/>
                  <a:gd name="connsiteY4" fmla="*/ 0 h 24098"/>
                  <a:gd name="connsiteX5" fmla="*/ 0 w 24098"/>
                  <a:gd name="connsiteY5" fmla="*/ 0 h 24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098" h="24098">
                    <a:moveTo>
                      <a:pt x="0" y="0"/>
                    </a:moveTo>
                    <a:lnTo>
                      <a:pt x="24098" y="0"/>
                    </a:lnTo>
                    <a:lnTo>
                      <a:pt x="24098" y="24098"/>
                    </a:lnTo>
                    <a:lnTo>
                      <a:pt x="0" y="2409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7364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Freihandform: Form 388">
                <a:extLst>
                  <a:ext uri="{FF2B5EF4-FFF2-40B4-BE49-F238E27FC236}">
                    <a16:creationId xmlns:a16="http://schemas.microsoft.com/office/drawing/2014/main" id="{1ED8EE5C-95F4-4E2D-E197-9C8E49EEEC02}"/>
                  </a:ext>
                </a:extLst>
              </p:cNvPr>
              <p:cNvSpPr/>
              <p:nvPr/>
            </p:nvSpPr>
            <p:spPr>
              <a:xfrm>
                <a:off x="971352" y="6037482"/>
                <a:ext cx="24479" cy="92868"/>
              </a:xfrm>
              <a:custGeom>
                <a:avLst/>
                <a:gdLst>
                  <a:gd name="connsiteX0" fmla="*/ 0 w 24479"/>
                  <a:gd name="connsiteY0" fmla="*/ 92869 h 92868"/>
                  <a:gd name="connsiteX1" fmla="*/ 24479 w 24479"/>
                  <a:gd name="connsiteY1" fmla="*/ 92869 h 92868"/>
                  <a:gd name="connsiteX2" fmla="*/ 24479 w 24479"/>
                  <a:gd name="connsiteY2" fmla="*/ 0 h 92868"/>
                  <a:gd name="connsiteX3" fmla="*/ 0 w 24479"/>
                  <a:gd name="connsiteY3" fmla="*/ 0 h 92868"/>
                  <a:gd name="connsiteX4" fmla="*/ 0 w 24479"/>
                  <a:gd name="connsiteY4" fmla="*/ 92869 h 92868"/>
                  <a:gd name="connsiteX5" fmla="*/ 0 w 24479"/>
                  <a:gd name="connsiteY5" fmla="*/ 92869 h 92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479" h="92868">
                    <a:moveTo>
                      <a:pt x="0" y="92869"/>
                    </a:moveTo>
                    <a:lnTo>
                      <a:pt x="24479" y="92869"/>
                    </a:lnTo>
                    <a:lnTo>
                      <a:pt x="24479" y="0"/>
                    </a:lnTo>
                    <a:lnTo>
                      <a:pt x="0" y="0"/>
                    </a:lnTo>
                    <a:lnTo>
                      <a:pt x="0" y="92869"/>
                    </a:lnTo>
                    <a:lnTo>
                      <a:pt x="0" y="92869"/>
                    </a:lnTo>
                    <a:close/>
                  </a:path>
                </a:pathLst>
              </a:custGeom>
              <a:solidFill>
                <a:srgbClr val="27364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B41B4ECA-B0EA-12B8-9F10-61586075A758}"/>
                </a:ext>
              </a:extLst>
            </p:cNvPr>
            <p:cNvGrpSpPr/>
            <p:nvPr/>
          </p:nvGrpSpPr>
          <p:grpSpPr>
            <a:xfrm>
              <a:off x="1885847" y="7128476"/>
              <a:ext cx="550735" cy="168592"/>
              <a:chOff x="1885847" y="7128476"/>
              <a:chExt cx="550735" cy="168592"/>
            </a:xfrm>
          </p:grpSpPr>
          <p:sp>
            <p:nvSpPr>
              <p:cNvPr id="34" name="Freihandform: Form 368">
                <a:extLst>
                  <a:ext uri="{FF2B5EF4-FFF2-40B4-BE49-F238E27FC236}">
                    <a16:creationId xmlns:a16="http://schemas.microsoft.com/office/drawing/2014/main" id="{E3062A52-7B52-F8B0-5472-24E8F78609B3}"/>
                  </a:ext>
                </a:extLst>
              </p:cNvPr>
              <p:cNvSpPr/>
              <p:nvPr/>
            </p:nvSpPr>
            <p:spPr>
              <a:xfrm>
                <a:off x="1885847" y="7128476"/>
                <a:ext cx="550735" cy="168592"/>
              </a:xfrm>
              <a:custGeom>
                <a:avLst/>
                <a:gdLst>
                  <a:gd name="connsiteX0" fmla="*/ 550735 w 550735"/>
                  <a:gd name="connsiteY0" fmla="*/ 168592 h 168592"/>
                  <a:gd name="connsiteX1" fmla="*/ 0 w 550735"/>
                  <a:gd name="connsiteY1" fmla="*/ 168592 h 168592"/>
                  <a:gd name="connsiteX2" fmla="*/ 0 w 550735"/>
                  <a:gd name="connsiteY2" fmla="*/ 0 h 168592"/>
                  <a:gd name="connsiteX3" fmla="*/ 550735 w 550735"/>
                  <a:gd name="connsiteY3" fmla="*/ 0 h 168592"/>
                  <a:gd name="connsiteX4" fmla="*/ 550735 w 550735"/>
                  <a:gd name="connsiteY4" fmla="*/ 168592 h 168592"/>
                  <a:gd name="connsiteX5" fmla="*/ 550735 w 550735"/>
                  <a:gd name="connsiteY5" fmla="*/ 168592 h 16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0735" h="168592">
                    <a:moveTo>
                      <a:pt x="550735" y="168592"/>
                    </a:moveTo>
                    <a:lnTo>
                      <a:pt x="0" y="168592"/>
                    </a:lnTo>
                    <a:lnTo>
                      <a:pt x="0" y="0"/>
                    </a:lnTo>
                    <a:lnTo>
                      <a:pt x="550735" y="0"/>
                    </a:lnTo>
                    <a:lnTo>
                      <a:pt x="550735" y="168592"/>
                    </a:lnTo>
                    <a:lnTo>
                      <a:pt x="550735" y="16859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69">
                <a:extLst>
                  <a:ext uri="{FF2B5EF4-FFF2-40B4-BE49-F238E27FC236}">
                    <a16:creationId xmlns:a16="http://schemas.microsoft.com/office/drawing/2014/main" id="{A2FA6E2B-3936-1C34-B18B-0BFD7DC28E60}"/>
                  </a:ext>
                </a:extLst>
              </p:cNvPr>
              <p:cNvSpPr/>
              <p:nvPr/>
            </p:nvSpPr>
            <p:spPr>
              <a:xfrm>
                <a:off x="1897372" y="7139905"/>
                <a:ext cx="494442" cy="145351"/>
              </a:xfrm>
              <a:custGeom>
                <a:avLst/>
                <a:gdLst>
                  <a:gd name="connsiteX0" fmla="*/ 95 w 494442"/>
                  <a:gd name="connsiteY0" fmla="*/ 0 h 145351"/>
                  <a:gd name="connsiteX1" fmla="*/ 494443 w 494442"/>
                  <a:gd name="connsiteY1" fmla="*/ 0 h 145351"/>
                  <a:gd name="connsiteX2" fmla="*/ 404431 w 494442"/>
                  <a:gd name="connsiteY2" fmla="*/ 67818 h 145351"/>
                  <a:gd name="connsiteX3" fmla="*/ 362521 w 494442"/>
                  <a:gd name="connsiteY3" fmla="*/ 145352 h 145351"/>
                  <a:gd name="connsiteX4" fmla="*/ 0 w 494442"/>
                  <a:gd name="connsiteY4" fmla="*/ 145352 h 145351"/>
                  <a:gd name="connsiteX5" fmla="*/ 0 w 494442"/>
                  <a:gd name="connsiteY5" fmla="*/ 0 h 145351"/>
                  <a:gd name="connsiteX6" fmla="*/ 0 w 494442"/>
                  <a:gd name="connsiteY6" fmla="*/ 0 h 14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4442" h="145351">
                    <a:moveTo>
                      <a:pt x="95" y="0"/>
                    </a:moveTo>
                    <a:lnTo>
                      <a:pt x="494443" y="0"/>
                    </a:lnTo>
                    <a:cubicBezTo>
                      <a:pt x="494443" y="0"/>
                      <a:pt x="467296" y="62770"/>
                      <a:pt x="404431" y="67818"/>
                    </a:cubicBezTo>
                    <a:cubicBezTo>
                      <a:pt x="411099" y="79248"/>
                      <a:pt x="399288" y="145352"/>
                      <a:pt x="362521" y="145352"/>
                    </a:cubicBezTo>
                    <a:lnTo>
                      <a:pt x="0" y="14535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34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70">
                <a:extLst>
                  <a:ext uri="{FF2B5EF4-FFF2-40B4-BE49-F238E27FC236}">
                    <a16:creationId xmlns:a16="http://schemas.microsoft.com/office/drawing/2014/main" id="{94C93AA3-D800-E089-D472-0D6A9EB95DB5}"/>
                  </a:ext>
                </a:extLst>
              </p:cNvPr>
              <p:cNvSpPr/>
              <p:nvPr/>
            </p:nvSpPr>
            <p:spPr>
              <a:xfrm>
                <a:off x="2275420" y="7139905"/>
                <a:ext cx="149542" cy="145351"/>
              </a:xfrm>
              <a:custGeom>
                <a:avLst/>
                <a:gdLst>
                  <a:gd name="connsiteX0" fmla="*/ 119824 w 149542"/>
                  <a:gd name="connsiteY0" fmla="*/ 0 h 145351"/>
                  <a:gd name="connsiteX1" fmla="*/ 149542 w 149542"/>
                  <a:gd name="connsiteY1" fmla="*/ 0 h 145351"/>
                  <a:gd name="connsiteX2" fmla="*/ 149542 w 149542"/>
                  <a:gd name="connsiteY2" fmla="*/ 145352 h 145351"/>
                  <a:gd name="connsiteX3" fmla="*/ 0 w 149542"/>
                  <a:gd name="connsiteY3" fmla="*/ 145352 h 145351"/>
                  <a:gd name="connsiteX4" fmla="*/ 119824 w 149542"/>
                  <a:gd name="connsiteY4" fmla="*/ 0 h 145351"/>
                  <a:gd name="connsiteX5" fmla="*/ 119824 w 149542"/>
                  <a:gd name="connsiteY5" fmla="*/ 0 h 14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9542" h="145351">
                    <a:moveTo>
                      <a:pt x="119824" y="0"/>
                    </a:moveTo>
                    <a:lnTo>
                      <a:pt x="149542" y="0"/>
                    </a:lnTo>
                    <a:lnTo>
                      <a:pt x="149542" y="145352"/>
                    </a:lnTo>
                    <a:lnTo>
                      <a:pt x="0" y="145352"/>
                    </a:lnTo>
                    <a:cubicBezTo>
                      <a:pt x="70009" y="107537"/>
                      <a:pt x="119824" y="0"/>
                      <a:pt x="119824" y="0"/>
                    </a:cubicBezTo>
                    <a:lnTo>
                      <a:pt x="119824" y="0"/>
                    </a:lnTo>
                    <a:close/>
                  </a:path>
                </a:pathLst>
              </a:custGeom>
              <a:solidFill>
                <a:srgbClr val="009FE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71">
                <a:extLst>
                  <a:ext uri="{FF2B5EF4-FFF2-40B4-BE49-F238E27FC236}">
                    <a16:creationId xmlns:a16="http://schemas.microsoft.com/office/drawing/2014/main" id="{3BE51355-01C1-113F-B27A-897B21129AE4}"/>
                  </a:ext>
                </a:extLst>
              </p:cNvPr>
              <p:cNvSpPr/>
              <p:nvPr/>
            </p:nvSpPr>
            <p:spPr>
              <a:xfrm>
                <a:off x="1925662" y="7156479"/>
                <a:ext cx="99345" cy="107513"/>
              </a:xfrm>
              <a:custGeom>
                <a:avLst/>
                <a:gdLst>
                  <a:gd name="connsiteX0" fmla="*/ 41815 w 99345"/>
                  <a:gd name="connsiteY0" fmla="*/ 191 h 107513"/>
                  <a:gd name="connsiteX1" fmla="*/ 63913 w 99345"/>
                  <a:gd name="connsiteY1" fmla="*/ 191 h 107513"/>
                  <a:gd name="connsiteX2" fmla="*/ 60008 w 99345"/>
                  <a:gd name="connsiteY2" fmla="*/ 18764 h 107513"/>
                  <a:gd name="connsiteX3" fmla="*/ 99346 w 99345"/>
                  <a:gd name="connsiteY3" fmla="*/ 18764 h 107513"/>
                  <a:gd name="connsiteX4" fmla="*/ 88773 w 99345"/>
                  <a:gd name="connsiteY4" fmla="*/ 36862 h 107513"/>
                  <a:gd name="connsiteX5" fmla="*/ 55531 w 99345"/>
                  <a:gd name="connsiteY5" fmla="*/ 36862 h 107513"/>
                  <a:gd name="connsiteX6" fmla="*/ 47244 w 99345"/>
                  <a:gd name="connsiteY6" fmla="*/ 70675 h 107513"/>
                  <a:gd name="connsiteX7" fmla="*/ 51625 w 99345"/>
                  <a:gd name="connsiteY7" fmla="*/ 86201 h 107513"/>
                  <a:gd name="connsiteX8" fmla="*/ 83534 w 99345"/>
                  <a:gd name="connsiteY8" fmla="*/ 79438 h 107513"/>
                  <a:gd name="connsiteX9" fmla="*/ 87344 w 99345"/>
                  <a:gd name="connsiteY9" fmla="*/ 97155 h 107513"/>
                  <a:gd name="connsiteX10" fmla="*/ 50959 w 99345"/>
                  <a:gd name="connsiteY10" fmla="*/ 107251 h 107513"/>
                  <a:gd name="connsiteX11" fmla="*/ 23431 w 99345"/>
                  <a:gd name="connsiteY11" fmla="*/ 80963 h 107513"/>
                  <a:gd name="connsiteX12" fmla="*/ 33528 w 99345"/>
                  <a:gd name="connsiteY12" fmla="*/ 36481 h 107513"/>
                  <a:gd name="connsiteX13" fmla="*/ 0 w 99345"/>
                  <a:gd name="connsiteY13" fmla="*/ 36481 h 107513"/>
                  <a:gd name="connsiteX14" fmla="*/ 10096 w 99345"/>
                  <a:gd name="connsiteY14" fmla="*/ 18479 h 107513"/>
                  <a:gd name="connsiteX15" fmla="*/ 37433 w 99345"/>
                  <a:gd name="connsiteY15" fmla="*/ 18479 h 107513"/>
                  <a:gd name="connsiteX16" fmla="*/ 42005 w 99345"/>
                  <a:gd name="connsiteY16" fmla="*/ 0 h 107513"/>
                  <a:gd name="connsiteX17" fmla="*/ 42005 w 99345"/>
                  <a:gd name="connsiteY17" fmla="*/ 0 h 107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99345" h="107513">
                    <a:moveTo>
                      <a:pt x="41815" y="191"/>
                    </a:moveTo>
                    <a:lnTo>
                      <a:pt x="63913" y="191"/>
                    </a:lnTo>
                    <a:lnTo>
                      <a:pt x="60008" y="18764"/>
                    </a:lnTo>
                    <a:lnTo>
                      <a:pt x="99346" y="18764"/>
                    </a:lnTo>
                    <a:lnTo>
                      <a:pt x="88773" y="36862"/>
                    </a:lnTo>
                    <a:lnTo>
                      <a:pt x="55531" y="36862"/>
                    </a:lnTo>
                    <a:cubicBezTo>
                      <a:pt x="55531" y="36862"/>
                      <a:pt x="47244" y="70675"/>
                      <a:pt x="47244" y="70675"/>
                    </a:cubicBezTo>
                    <a:cubicBezTo>
                      <a:pt x="47244" y="70675"/>
                      <a:pt x="42672" y="83058"/>
                      <a:pt x="51625" y="86201"/>
                    </a:cubicBezTo>
                    <a:cubicBezTo>
                      <a:pt x="68675" y="91821"/>
                      <a:pt x="83534" y="79438"/>
                      <a:pt x="83534" y="79438"/>
                    </a:cubicBezTo>
                    <a:lnTo>
                      <a:pt x="87344" y="97155"/>
                    </a:lnTo>
                    <a:cubicBezTo>
                      <a:pt x="87344" y="97155"/>
                      <a:pt x="71818" y="109442"/>
                      <a:pt x="50959" y="107251"/>
                    </a:cubicBezTo>
                    <a:cubicBezTo>
                      <a:pt x="34480" y="106775"/>
                      <a:pt x="21908" y="96393"/>
                      <a:pt x="23431" y="80963"/>
                    </a:cubicBezTo>
                    <a:cubicBezTo>
                      <a:pt x="25051" y="68580"/>
                      <a:pt x="33528" y="36481"/>
                      <a:pt x="33528" y="36481"/>
                    </a:cubicBezTo>
                    <a:lnTo>
                      <a:pt x="0" y="36481"/>
                    </a:lnTo>
                    <a:lnTo>
                      <a:pt x="10096" y="18479"/>
                    </a:lnTo>
                    <a:lnTo>
                      <a:pt x="37433" y="18479"/>
                    </a:lnTo>
                    <a:cubicBezTo>
                      <a:pt x="37433" y="18479"/>
                      <a:pt x="42005" y="0"/>
                      <a:pt x="42005" y="0"/>
                    </a:cubicBezTo>
                    <a:lnTo>
                      <a:pt x="4200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2">
                <a:extLst>
                  <a:ext uri="{FF2B5EF4-FFF2-40B4-BE49-F238E27FC236}">
                    <a16:creationId xmlns:a16="http://schemas.microsoft.com/office/drawing/2014/main" id="{D7DF233A-A3C9-065A-1F54-F4FEAFE05BA8}"/>
                  </a:ext>
                </a:extLst>
              </p:cNvPr>
              <p:cNvSpPr/>
              <p:nvPr/>
            </p:nvSpPr>
            <p:spPr>
              <a:xfrm>
                <a:off x="2012979" y="7173111"/>
                <a:ext cx="87699" cy="90716"/>
              </a:xfrm>
              <a:custGeom>
                <a:avLst/>
                <a:gdLst>
                  <a:gd name="connsiteX0" fmla="*/ 22792 w 87699"/>
                  <a:gd name="connsiteY0" fmla="*/ 52043 h 90716"/>
                  <a:gd name="connsiteX1" fmla="*/ 38318 w 87699"/>
                  <a:gd name="connsiteY1" fmla="*/ 71570 h 90716"/>
                  <a:gd name="connsiteX2" fmla="*/ 59177 w 87699"/>
                  <a:gd name="connsiteY2" fmla="*/ 60235 h 90716"/>
                  <a:gd name="connsiteX3" fmla="*/ 81847 w 87699"/>
                  <a:gd name="connsiteY3" fmla="*/ 60235 h 90716"/>
                  <a:gd name="connsiteX4" fmla="*/ 34412 w 87699"/>
                  <a:gd name="connsiteY4" fmla="*/ 90620 h 90716"/>
                  <a:gd name="connsiteX5" fmla="*/ 884 w 87699"/>
                  <a:gd name="connsiteY5" fmla="*/ 44804 h 90716"/>
                  <a:gd name="connsiteX6" fmla="*/ 52986 w 87699"/>
                  <a:gd name="connsiteY6" fmla="*/ 37 h 90716"/>
                  <a:gd name="connsiteX7" fmla="*/ 87466 w 87699"/>
                  <a:gd name="connsiteY7" fmla="*/ 27850 h 90716"/>
                  <a:gd name="connsiteX8" fmla="*/ 84609 w 87699"/>
                  <a:gd name="connsiteY8" fmla="*/ 52043 h 90716"/>
                  <a:gd name="connsiteX9" fmla="*/ 22792 w 87699"/>
                  <a:gd name="connsiteY9" fmla="*/ 52043 h 90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7699" h="90716">
                    <a:moveTo>
                      <a:pt x="22792" y="52043"/>
                    </a:moveTo>
                    <a:cubicBezTo>
                      <a:pt x="22792" y="52043"/>
                      <a:pt x="17934" y="69760"/>
                      <a:pt x="38318" y="71570"/>
                    </a:cubicBezTo>
                    <a:cubicBezTo>
                      <a:pt x="56320" y="72808"/>
                      <a:pt x="58987" y="60235"/>
                      <a:pt x="59177" y="60235"/>
                    </a:cubicBezTo>
                    <a:lnTo>
                      <a:pt x="81847" y="60235"/>
                    </a:lnTo>
                    <a:cubicBezTo>
                      <a:pt x="81847" y="60235"/>
                      <a:pt x="75941" y="92715"/>
                      <a:pt x="34412" y="90620"/>
                    </a:cubicBezTo>
                    <a:cubicBezTo>
                      <a:pt x="13838" y="90620"/>
                      <a:pt x="-4259" y="74618"/>
                      <a:pt x="884" y="44804"/>
                    </a:cubicBezTo>
                    <a:cubicBezTo>
                      <a:pt x="884" y="44804"/>
                      <a:pt x="4027" y="-1487"/>
                      <a:pt x="52986" y="37"/>
                    </a:cubicBezTo>
                    <a:cubicBezTo>
                      <a:pt x="76132" y="1656"/>
                      <a:pt x="85752" y="13467"/>
                      <a:pt x="87466" y="27850"/>
                    </a:cubicBezTo>
                    <a:cubicBezTo>
                      <a:pt x="88705" y="38899"/>
                      <a:pt x="84609" y="52043"/>
                      <a:pt x="84609" y="52043"/>
                    </a:cubicBezTo>
                    <a:lnTo>
                      <a:pt x="22792" y="5204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73">
                <a:extLst>
                  <a:ext uri="{FF2B5EF4-FFF2-40B4-BE49-F238E27FC236}">
                    <a16:creationId xmlns:a16="http://schemas.microsoft.com/office/drawing/2014/main" id="{5B933934-F571-A73B-66EF-A03001812DBD}"/>
                  </a:ext>
                </a:extLst>
              </p:cNvPr>
              <p:cNvSpPr/>
              <p:nvPr/>
            </p:nvSpPr>
            <p:spPr>
              <a:xfrm>
                <a:off x="2177808" y="7173423"/>
                <a:ext cx="84041" cy="90688"/>
              </a:xfrm>
              <a:custGeom>
                <a:avLst/>
                <a:gdLst>
                  <a:gd name="connsiteX0" fmla="*/ 59702 w 84041"/>
                  <a:gd name="connsiteY0" fmla="*/ 34014 h 90688"/>
                  <a:gd name="connsiteX1" fmla="*/ 13886 w 84041"/>
                  <a:gd name="connsiteY1" fmla="*/ 41253 h 90688"/>
                  <a:gd name="connsiteX2" fmla="*/ 266 w 84041"/>
                  <a:gd name="connsiteY2" fmla="*/ 72400 h 90688"/>
                  <a:gd name="connsiteX3" fmla="*/ 24935 w 84041"/>
                  <a:gd name="connsiteY3" fmla="*/ 90688 h 90688"/>
                  <a:gd name="connsiteX4" fmla="*/ 50748 w 84041"/>
                  <a:gd name="connsiteY4" fmla="*/ 82782 h 90688"/>
                  <a:gd name="connsiteX5" fmla="*/ 51701 w 84041"/>
                  <a:gd name="connsiteY5" fmla="*/ 88688 h 90688"/>
                  <a:gd name="connsiteX6" fmla="*/ 72370 w 84041"/>
                  <a:gd name="connsiteY6" fmla="*/ 88688 h 90688"/>
                  <a:gd name="connsiteX7" fmla="*/ 72370 w 84041"/>
                  <a:gd name="connsiteY7" fmla="*/ 76305 h 90688"/>
                  <a:gd name="connsiteX8" fmla="*/ 83133 w 84041"/>
                  <a:gd name="connsiteY8" fmla="*/ 27918 h 90688"/>
                  <a:gd name="connsiteX9" fmla="*/ 71608 w 84041"/>
                  <a:gd name="connsiteY9" fmla="*/ 4677 h 90688"/>
                  <a:gd name="connsiteX10" fmla="*/ 44081 w 84041"/>
                  <a:gd name="connsiteY10" fmla="*/ 582 h 90688"/>
                  <a:gd name="connsiteX11" fmla="*/ 13505 w 84041"/>
                  <a:gd name="connsiteY11" fmla="*/ 26299 h 90688"/>
                  <a:gd name="connsiteX12" fmla="*/ 37413 w 84041"/>
                  <a:gd name="connsiteY12" fmla="*/ 26299 h 90688"/>
                  <a:gd name="connsiteX13" fmla="*/ 52367 w 84041"/>
                  <a:gd name="connsiteY13" fmla="*/ 16774 h 90688"/>
                  <a:gd name="connsiteX14" fmla="*/ 59606 w 84041"/>
                  <a:gd name="connsiteY14" fmla="*/ 34014 h 90688"/>
                  <a:gd name="connsiteX15" fmla="*/ 59606 w 84041"/>
                  <a:gd name="connsiteY15" fmla="*/ 34014 h 90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4041" h="90688">
                    <a:moveTo>
                      <a:pt x="59702" y="34014"/>
                    </a:moveTo>
                    <a:cubicBezTo>
                      <a:pt x="59702" y="34014"/>
                      <a:pt x="27221" y="30871"/>
                      <a:pt x="13886" y="41253"/>
                    </a:cubicBezTo>
                    <a:cubicBezTo>
                      <a:pt x="-3068" y="54684"/>
                      <a:pt x="266" y="72400"/>
                      <a:pt x="266" y="72400"/>
                    </a:cubicBezTo>
                    <a:cubicBezTo>
                      <a:pt x="4647" y="90974"/>
                      <a:pt x="24935" y="90688"/>
                      <a:pt x="24935" y="90688"/>
                    </a:cubicBezTo>
                    <a:cubicBezTo>
                      <a:pt x="41604" y="90212"/>
                      <a:pt x="50748" y="82782"/>
                      <a:pt x="50748" y="82782"/>
                    </a:cubicBezTo>
                    <a:lnTo>
                      <a:pt x="51701" y="88688"/>
                    </a:lnTo>
                    <a:lnTo>
                      <a:pt x="72370" y="88688"/>
                    </a:lnTo>
                    <a:cubicBezTo>
                      <a:pt x="72370" y="88688"/>
                      <a:pt x="70941" y="79830"/>
                      <a:pt x="72370" y="76305"/>
                    </a:cubicBezTo>
                    <a:cubicBezTo>
                      <a:pt x="71894" y="75734"/>
                      <a:pt x="83133" y="27918"/>
                      <a:pt x="83133" y="27918"/>
                    </a:cubicBezTo>
                    <a:cubicBezTo>
                      <a:pt x="83133" y="27918"/>
                      <a:pt x="88848" y="12393"/>
                      <a:pt x="71608" y="4677"/>
                    </a:cubicBezTo>
                    <a:cubicBezTo>
                      <a:pt x="58654" y="-2276"/>
                      <a:pt x="44081" y="582"/>
                      <a:pt x="44081" y="582"/>
                    </a:cubicBezTo>
                    <a:cubicBezTo>
                      <a:pt x="44081" y="582"/>
                      <a:pt x="18649" y="1439"/>
                      <a:pt x="13505" y="26299"/>
                    </a:cubicBezTo>
                    <a:lnTo>
                      <a:pt x="37413" y="26299"/>
                    </a:lnTo>
                    <a:cubicBezTo>
                      <a:pt x="37413" y="26299"/>
                      <a:pt x="39223" y="16012"/>
                      <a:pt x="52367" y="16774"/>
                    </a:cubicBezTo>
                    <a:cubicBezTo>
                      <a:pt x="69036" y="16298"/>
                      <a:pt x="59606" y="34014"/>
                      <a:pt x="59606" y="34014"/>
                    </a:cubicBezTo>
                    <a:lnTo>
                      <a:pt x="59606" y="34014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74">
                <a:extLst>
                  <a:ext uri="{FF2B5EF4-FFF2-40B4-BE49-F238E27FC236}">
                    <a16:creationId xmlns:a16="http://schemas.microsoft.com/office/drawing/2014/main" id="{8E30874B-B112-9A3B-261A-B30120F3717A}"/>
                  </a:ext>
                </a:extLst>
              </p:cNvPr>
              <p:cNvSpPr/>
              <p:nvPr/>
            </p:nvSpPr>
            <p:spPr>
              <a:xfrm>
                <a:off x="2039104" y="7190382"/>
                <a:ext cx="39137" cy="16484"/>
              </a:xfrm>
              <a:custGeom>
                <a:avLst/>
                <a:gdLst>
                  <a:gd name="connsiteX0" fmla="*/ 0 w 39137"/>
                  <a:gd name="connsiteY0" fmla="*/ 16485 h 16484"/>
                  <a:gd name="connsiteX1" fmla="*/ 38576 w 39137"/>
                  <a:gd name="connsiteY1" fmla="*/ 16485 h 16484"/>
                  <a:gd name="connsiteX2" fmla="*/ 22860 w 39137"/>
                  <a:gd name="connsiteY2" fmla="*/ 6 h 16484"/>
                  <a:gd name="connsiteX3" fmla="*/ 0 w 39137"/>
                  <a:gd name="connsiteY3" fmla="*/ 16485 h 16484"/>
                  <a:gd name="connsiteX4" fmla="*/ 0 w 39137"/>
                  <a:gd name="connsiteY4" fmla="*/ 16485 h 16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137" h="16484">
                    <a:moveTo>
                      <a:pt x="0" y="16485"/>
                    </a:moveTo>
                    <a:lnTo>
                      <a:pt x="38576" y="16485"/>
                    </a:lnTo>
                    <a:cubicBezTo>
                      <a:pt x="38576" y="16485"/>
                      <a:pt x="43720" y="-375"/>
                      <a:pt x="22860" y="6"/>
                    </a:cubicBezTo>
                    <a:cubicBezTo>
                      <a:pt x="4381" y="-184"/>
                      <a:pt x="0" y="16485"/>
                      <a:pt x="0" y="16485"/>
                    </a:cubicBezTo>
                    <a:lnTo>
                      <a:pt x="0" y="16485"/>
                    </a:lnTo>
                    <a:close/>
                  </a:path>
                </a:pathLst>
              </a:custGeom>
              <a:solidFill>
                <a:srgbClr val="E634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375">
                <a:extLst>
                  <a:ext uri="{FF2B5EF4-FFF2-40B4-BE49-F238E27FC236}">
                    <a16:creationId xmlns:a16="http://schemas.microsoft.com/office/drawing/2014/main" id="{E8F6B31A-7264-41A8-C56A-E4FADDFCE7C6}"/>
                  </a:ext>
                </a:extLst>
              </p:cNvPr>
              <p:cNvSpPr/>
              <p:nvPr/>
            </p:nvSpPr>
            <p:spPr>
              <a:xfrm>
                <a:off x="2201101" y="7222823"/>
                <a:ext cx="32789" cy="23610"/>
              </a:xfrm>
              <a:custGeom>
                <a:avLst/>
                <a:gdLst>
                  <a:gd name="connsiteX0" fmla="*/ 32790 w 32789"/>
                  <a:gd name="connsiteY0" fmla="*/ 331 h 23610"/>
                  <a:gd name="connsiteX1" fmla="*/ 24 w 32789"/>
                  <a:gd name="connsiteY1" fmla="*/ 17572 h 23610"/>
                  <a:gd name="connsiteX2" fmla="*/ 32790 w 32789"/>
                  <a:gd name="connsiteY2" fmla="*/ 331 h 23610"/>
                  <a:gd name="connsiteX3" fmla="*/ 32790 w 32789"/>
                  <a:gd name="connsiteY3" fmla="*/ 331 h 23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789" h="23610">
                    <a:moveTo>
                      <a:pt x="32790" y="331"/>
                    </a:moveTo>
                    <a:cubicBezTo>
                      <a:pt x="32790" y="331"/>
                      <a:pt x="-1024" y="-3860"/>
                      <a:pt x="24" y="17572"/>
                    </a:cubicBezTo>
                    <a:cubicBezTo>
                      <a:pt x="5644" y="31002"/>
                      <a:pt x="32695" y="20619"/>
                      <a:pt x="32790" y="331"/>
                    </a:cubicBezTo>
                    <a:lnTo>
                      <a:pt x="32790" y="331"/>
                    </a:lnTo>
                    <a:close/>
                  </a:path>
                </a:pathLst>
              </a:custGeom>
              <a:solidFill>
                <a:srgbClr val="E6341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376">
                <a:extLst>
                  <a:ext uri="{FF2B5EF4-FFF2-40B4-BE49-F238E27FC236}">
                    <a16:creationId xmlns:a16="http://schemas.microsoft.com/office/drawing/2014/main" id="{77B37E97-A951-A048-364A-B1D9225BB3F6}"/>
                  </a:ext>
                </a:extLst>
              </p:cNvPr>
              <p:cNvSpPr/>
              <p:nvPr/>
            </p:nvSpPr>
            <p:spPr>
              <a:xfrm>
                <a:off x="2098561" y="7173092"/>
                <a:ext cx="85590" cy="91230"/>
              </a:xfrm>
              <a:custGeom>
                <a:avLst/>
                <a:gdLst>
                  <a:gd name="connsiteX0" fmla="*/ 1408 w 85590"/>
                  <a:gd name="connsiteY0" fmla="*/ 60159 h 91230"/>
                  <a:gd name="connsiteX1" fmla="*/ 23506 w 85590"/>
                  <a:gd name="connsiteY1" fmla="*/ 60159 h 91230"/>
                  <a:gd name="connsiteX2" fmla="*/ 38269 w 85590"/>
                  <a:gd name="connsiteY2" fmla="*/ 73494 h 91230"/>
                  <a:gd name="connsiteX3" fmla="*/ 50176 w 85590"/>
                  <a:gd name="connsiteY3" fmla="*/ 62349 h 91230"/>
                  <a:gd name="connsiteX4" fmla="*/ 12266 w 85590"/>
                  <a:gd name="connsiteY4" fmla="*/ 35013 h 91230"/>
                  <a:gd name="connsiteX5" fmla="*/ 34364 w 85590"/>
                  <a:gd name="connsiteY5" fmla="*/ 1866 h 91230"/>
                  <a:gd name="connsiteX6" fmla="*/ 75607 w 85590"/>
                  <a:gd name="connsiteY6" fmla="*/ 5961 h 91230"/>
                  <a:gd name="connsiteX7" fmla="*/ 85418 w 85590"/>
                  <a:gd name="connsiteY7" fmla="*/ 26536 h 91230"/>
                  <a:gd name="connsiteX8" fmla="*/ 63511 w 85590"/>
                  <a:gd name="connsiteY8" fmla="*/ 26536 h 91230"/>
                  <a:gd name="connsiteX9" fmla="*/ 49795 w 85590"/>
                  <a:gd name="connsiteY9" fmla="*/ 16534 h 91230"/>
                  <a:gd name="connsiteX10" fmla="*/ 36841 w 85590"/>
                  <a:gd name="connsiteY10" fmla="*/ 26250 h 91230"/>
                  <a:gd name="connsiteX11" fmla="*/ 69511 w 85590"/>
                  <a:gd name="connsiteY11" fmla="*/ 46633 h 91230"/>
                  <a:gd name="connsiteX12" fmla="*/ 43984 w 85590"/>
                  <a:gd name="connsiteY12" fmla="*/ 91115 h 91230"/>
                  <a:gd name="connsiteX13" fmla="*/ 5599 w 85590"/>
                  <a:gd name="connsiteY13" fmla="*/ 82923 h 91230"/>
                  <a:gd name="connsiteX14" fmla="*/ 1503 w 85590"/>
                  <a:gd name="connsiteY14" fmla="*/ 60254 h 91230"/>
                  <a:gd name="connsiteX15" fmla="*/ 1503 w 85590"/>
                  <a:gd name="connsiteY15" fmla="*/ 60254 h 91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5590" h="91230">
                    <a:moveTo>
                      <a:pt x="1408" y="60159"/>
                    </a:moveTo>
                    <a:lnTo>
                      <a:pt x="23506" y="60159"/>
                    </a:lnTo>
                    <a:cubicBezTo>
                      <a:pt x="23506" y="60159"/>
                      <a:pt x="19600" y="74351"/>
                      <a:pt x="38269" y="73494"/>
                    </a:cubicBezTo>
                    <a:cubicBezTo>
                      <a:pt x="55033" y="72732"/>
                      <a:pt x="50366" y="62159"/>
                      <a:pt x="50176" y="62349"/>
                    </a:cubicBezTo>
                    <a:cubicBezTo>
                      <a:pt x="48652" y="54825"/>
                      <a:pt x="21791" y="53015"/>
                      <a:pt x="12266" y="35013"/>
                    </a:cubicBezTo>
                    <a:cubicBezTo>
                      <a:pt x="4741" y="9962"/>
                      <a:pt x="33126" y="1770"/>
                      <a:pt x="34364" y="1866"/>
                    </a:cubicBezTo>
                    <a:cubicBezTo>
                      <a:pt x="60844" y="-4040"/>
                      <a:pt x="75607" y="5961"/>
                      <a:pt x="75607" y="5961"/>
                    </a:cubicBezTo>
                    <a:cubicBezTo>
                      <a:pt x="87704" y="12343"/>
                      <a:pt x="85418" y="26536"/>
                      <a:pt x="85418" y="26536"/>
                    </a:cubicBezTo>
                    <a:lnTo>
                      <a:pt x="63511" y="26536"/>
                    </a:lnTo>
                    <a:cubicBezTo>
                      <a:pt x="63511" y="26536"/>
                      <a:pt x="65130" y="16725"/>
                      <a:pt x="49795" y="16534"/>
                    </a:cubicBezTo>
                    <a:cubicBezTo>
                      <a:pt x="33888" y="16725"/>
                      <a:pt x="36841" y="26250"/>
                      <a:pt x="36841" y="26250"/>
                    </a:cubicBezTo>
                    <a:cubicBezTo>
                      <a:pt x="38841" y="33489"/>
                      <a:pt x="62939" y="38347"/>
                      <a:pt x="69511" y="46633"/>
                    </a:cubicBezTo>
                    <a:cubicBezTo>
                      <a:pt x="86847" y="69398"/>
                      <a:pt x="65701" y="90067"/>
                      <a:pt x="43984" y="91115"/>
                    </a:cubicBezTo>
                    <a:cubicBezTo>
                      <a:pt x="10552" y="92353"/>
                      <a:pt x="6361" y="83209"/>
                      <a:pt x="5599" y="82923"/>
                    </a:cubicBezTo>
                    <a:cubicBezTo>
                      <a:pt x="-3831" y="73875"/>
                      <a:pt x="1503" y="60254"/>
                      <a:pt x="1503" y="60254"/>
                    </a:cubicBezTo>
                    <a:lnTo>
                      <a:pt x="1503" y="60254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377">
                <a:extLst>
                  <a:ext uri="{FF2B5EF4-FFF2-40B4-BE49-F238E27FC236}">
                    <a16:creationId xmlns:a16="http://schemas.microsoft.com/office/drawing/2014/main" id="{F8E4E6E1-1560-A7FF-1F2E-A8797657E3E8}"/>
                  </a:ext>
                </a:extLst>
              </p:cNvPr>
              <p:cNvSpPr/>
              <p:nvPr/>
            </p:nvSpPr>
            <p:spPr>
              <a:xfrm>
                <a:off x="2273896" y="7174291"/>
                <a:ext cx="19240" cy="19240"/>
              </a:xfrm>
              <a:custGeom>
                <a:avLst/>
                <a:gdLst>
                  <a:gd name="connsiteX0" fmla="*/ 15335 w 19240"/>
                  <a:gd name="connsiteY0" fmla="*/ 15335 h 19240"/>
                  <a:gd name="connsiteX1" fmla="*/ 9715 w 19240"/>
                  <a:gd name="connsiteY1" fmla="*/ 17717 h 19240"/>
                  <a:gd name="connsiteX2" fmla="*/ 4096 w 19240"/>
                  <a:gd name="connsiteY2" fmla="*/ 15335 h 19240"/>
                  <a:gd name="connsiteX3" fmla="*/ 1714 w 19240"/>
                  <a:gd name="connsiteY3" fmla="*/ 9620 h 19240"/>
                  <a:gd name="connsiteX4" fmla="*/ 4001 w 19240"/>
                  <a:gd name="connsiteY4" fmla="*/ 4000 h 19240"/>
                  <a:gd name="connsiteX5" fmla="*/ 9715 w 19240"/>
                  <a:gd name="connsiteY5" fmla="*/ 1619 h 19240"/>
                  <a:gd name="connsiteX6" fmla="*/ 15335 w 19240"/>
                  <a:gd name="connsiteY6" fmla="*/ 4000 h 19240"/>
                  <a:gd name="connsiteX7" fmla="*/ 17621 w 19240"/>
                  <a:gd name="connsiteY7" fmla="*/ 9620 h 19240"/>
                  <a:gd name="connsiteX8" fmla="*/ 15335 w 19240"/>
                  <a:gd name="connsiteY8" fmla="*/ 15335 h 19240"/>
                  <a:gd name="connsiteX9" fmla="*/ 15335 w 19240"/>
                  <a:gd name="connsiteY9" fmla="*/ 15335 h 19240"/>
                  <a:gd name="connsiteX10" fmla="*/ 16573 w 19240"/>
                  <a:gd name="connsiteY10" fmla="*/ 2858 h 19240"/>
                  <a:gd name="connsiteX11" fmla="*/ 9715 w 19240"/>
                  <a:gd name="connsiteY11" fmla="*/ 0 h 19240"/>
                  <a:gd name="connsiteX12" fmla="*/ 3048 w 19240"/>
                  <a:gd name="connsiteY12" fmla="*/ 2572 h 19240"/>
                  <a:gd name="connsiteX13" fmla="*/ 0 w 19240"/>
                  <a:gd name="connsiteY13" fmla="*/ 9620 h 19240"/>
                  <a:gd name="connsiteX14" fmla="*/ 2762 w 19240"/>
                  <a:gd name="connsiteY14" fmla="*/ 16478 h 19240"/>
                  <a:gd name="connsiteX15" fmla="*/ 9620 w 19240"/>
                  <a:gd name="connsiteY15" fmla="*/ 19241 h 19240"/>
                  <a:gd name="connsiteX16" fmla="*/ 16383 w 19240"/>
                  <a:gd name="connsiteY16" fmla="*/ 16478 h 19240"/>
                  <a:gd name="connsiteX17" fmla="*/ 19240 w 19240"/>
                  <a:gd name="connsiteY17" fmla="*/ 9525 h 19240"/>
                  <a:gd name="connsiteX18" fmla="*/ 16383 w 19240"/>
                  <a:gd name="connsiteY18" fmla="*/ 2667 h 19240"/>
                  <a:gd name="connsiteX19" fmla="*/ 16383 w 19240"/>
                  <a:gd name="connsiteY19" fmla="*/ 2667 h 19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9240" h="19240">
                    <a:moveTo>
                      <a:pt x="15335" y="15335"/>
                    </a:moveTo>
                    <a:cubicBezTo>
                      <a:pt x="13811" y="16859"/>
                      <a:pt x="11906" y="17717"/>
                      <a:pt x="9715" y="17717"/>
                    </a:cubicBezTo>
                    <a:cubicBezTo>
                      <a:pt x="7525" y="17717"/>
                      <a:pt x="5620" y="16954"/>
                      <a:pt x="4096" y="15335"/>
                    </a:cubicBezTo>
                    <a:cubicBezTo>
                      <a:pt x="2572" y="13811"/>
                      <a:pt x="1714" y="11906"/>
                      <a:pt x="1714" y="9620"/>
                    </a:cubicBezTo>
                    <a:cubicBezTo>
                      <a:pt x="1714" y="7334"/>
                      <a:pt x="2477" y="5620"/>
                      <a:pt x="4001" y="4000"/>
                    </a:cubicBezTo>
                    <a:cubicBezTo>
                      <a:pt x="5524" y="2381"/>
                      <a:pt x="7429" y="1619"/>
                      <a:pt x="9715" y="1619"/>
                    </a:cubicBezTo>
                    <a:cubicBezTo>
                      <a:pt x="12002" y="1619"/>
                      <a:pt x="13811" y="2381"/>
                      <a:pt x="15335" y="4000"/>
                    </a:cubicBezTo>
                    <a:cubicBezTo>
                      <a:pt x="16859" y="5620"/>
                      <a:pt x="17621" y="7429"/>
                      <a:pt x="17621" y="9620"/>
                    </a:cubicBezTo>
                    <a:cubicBezTo>
                      <a:pt x="17621" y="11811"/>
                      <a:pt x="16859" y="13716"/>
                      <a:pt x="15335" y="15335"/>
                    </a:cubicBezTo>
                    <a:lnTo>
                      <a:pt x="15335" y="15335"/>
                    </a:lnTo>
                    <a:close/>
                    <a:moveTo>
                      <a:pt x="16573" y="2858"/>
                    </a:moveTo>
                    <a:cubicBezTo>
                      <a:pt x="14669" y="953"/>
                      <a:pt x="12382" y="0"/>
                      <a:pt x="9715" y="0"/>
                    </a:cubicBezTo>
                    <a:cubicBezTo>
                      <a:pt x="7048" y="0"/>
                      <a:pt x="4953" y="857"/>
                      <a:pt x="3048" y="2572"/>
                    </a:cubicBezTo>
                    <a:cubicBezTo>
                      <a:pt x="1048" y="4477"/>
                      <a:pt x="0" y="6763"/>
                      <a:pt x="0" y="9620"/>
                    </a:cubicBezTo>
                    <a:cubicBezTo>
                      <a:pt x="0" y="12478"/>
                      <a:pt x="953" y="14669"/>
                      <a:pt x="2762" y="16478"/>
                    </a:cubicBezTo>
                    <a:cubicBezTo>
                      <a:pt x="4572" y="18383"/>
                      <a:pt x="6858" y="19241"/>
                      <a:pt x="9620" y="19241"/>
                    </a:cubicBezTo>
                    <a:cubicBezTo>
                      <a:pt x="12382" y="19241"/>
                      <a:pt x="14478" y="18288"/>
                      <a:pt x="16383" y="16478"/>
                    </a:cubicBezTo>
                    <a:cubicBezTo>
                      <a:pt x="18288" y="14573"/>
                      <a:pt x="19240" y="12287"/>
                      <a:pt x="19240" y="9525"/>
                    </a:cubicBezTo>
                    <a:cubicBezTo>
                      <a:pt x="19240" y="6763"/>
                      <a:pt x="18288" y="4572"/>
                      <a:pt x="16383" y="2667"/>
                    </a:cubicBezTo>
                    <a:lnTo>
                      <a:pt x="16383" y="266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378">
                <a:extLst>
                  <a:ext uri="{FF2B5EF4-FFF2-40B4-BE49-F238E27FC236}">
                    <a16:creationId xmlns:a16="http://schemas.microsoft.com/office/drawing/2014/main" id="{BC6CEA45-CED4-E088-C6D2-5637D8F38BBE}"/>
                  </a:ext>
                </a:extLst>
              </p:cNvPr>
              <p:cNvSpPr/>
              <p:nvPr/>
            </p:nvSpPr>
            <p:spPr>
              <a:xfrm>
                <a:off x="2279325" y="7178672"/>
                <a:ext cx="8762" cy="10667"/>
              </a:xfrm>
              <a:custGeom>
                <a:avLst/>
                <a:gdLst>
                  <a:gd name="connsiteX0" fmla="*/ 5429 w 8762"/>
                  <a:gd name="connsiteY0" fmla="*/ 4572 h 10667"/>
                  <a:gd name="connsiteX1" fmla="*/ 3905 w 8762"/>
                  <a:gd name="connsiteY1" fmla="*/ 4953 h 10667"/>
                  <a:gd name="connsiteX2" fmla="*/ 2857 w 8762"/>
                  <a:gd name="connsiteY2" fmla="*/ 4953 h 10667"/>
                  <a:gd name="connsiteX3" fmla="*/ 2857 w 8762"/>
                  <a:gd name="connsiteY3" fmla="*/ 1810 h 10667"/>
                  <a:gd name="connsiteX4" fmla="*/ 3524 w 8762"/>
                  <a:gd name="connsiteY4" fmla="*/ 1810 h 10667"/>
                  <a:gd name="connsiteX5" fmla="*/ 5143 w 8762"/>
                  <a:gd name="connsiteY5" fmla="*/ 2000 h 10667"/>
                  <a:gd name="connsiteX6" fmla="*/ 6001 w 8762"/>
                  <a:gd name="connsiteY6" fmla="*/ 3238 h 10667"/>
                  <a:gd name="connsiteX7" fmla="*/ 5429 w 8762"/>
                  <a:gd name="connsiteY7" fmla="*/ 4477 h 10667"/>
                  <a:gd name="connsiteX8" fmla="*/ 5429 w 8762"/>
                  <a:gd name="connsiteY8" fmla="*/ 4477 h 10667"/>
                  <a:gd name="connsiteX9" fmla="*/ 8572 w 8762"/>
                  <a:gd name="connsiteY9" fmla="*/ 10096 h 10667"/>
                  <a:gd name="connsiteX10" fmla="*/ 8572 w 8762"/>
                  <a:gd name="connsiteY10" fmla="*/ 8858 h 10667"/>
                  <a:gd name="connsiteX11" fmla="*/ 7620 w 8762"/>
                  <a:gd name="connsiteY11" fmla="*/ 6477 h 10667"/>
                  <a:gd name="connsiteX12" fmla="*/ 6096 w 8762"/>
                  <a:gd name="connsiteY12" fmla="*/ 5810 h 10667"/>
                  <a:gd name="connsiteX13" fmla="*/ 7906 w 8762"/>
                  <a:gd name="connsiteY13" fmla="*/ 5143 h 10667"/>
                  <a:gd name="connsiteX14" fmla="*/ 8668 w 8762"/>
                  <a:gd name="connsiteY14" fmla="*/ 3143 h 10667"/>
                  <a:gd name="connsiteX15" fmla="*/ 7239 w 8762"/>
                  <a:gd name="connsiteY15" fmla="*/ 571 h 10667"/>
                  <a:gd name="connsiteX16" fmla="*/ 5143 w 8762"/>
                  <a:gd name="connsiteY16" fmla="*/ 0 h 10667"/>
                  <a:gd name="connsiteX17" fmla="*/ 2953 w 8762"/>
                  <a:gd name="connsiteY17" fmla="*/ 0 h 10667"/>
                  <a:gd name="connsiteX18" fmla="*/ 0 w 8762"/>
                  <a:gd name="connsiteY18" fmla="*/ 0 h 10667"/>
                  <a:gd name="connsiteX19" fmla="*/ 0 w 8762"/>
                  <a:gd name="connsiteY19" fmla="*/ 10668 h 10667"/>
                  <a:gd name="connsiteX20" fmla="*/ 2762 w 8762"/>
                  <a:gd name="connsiteY20" fmla="*/ 10668 h 10667"/>
                  <a:gd name="connsiteX21" fmla="*/ 2762 w 8762"/>
                  <a:gd name="connsiteY21" fmla="*/ 6858 h 10667"/>
                  <a:gd name="connsiteX22" fmla="*/ 4000 w 8762"/>
                  <a:gd name="connsiteY22" fmla="*/ 6858 h 10667"/>
                  <a:gd name="connsiteX23" fmla="*/ 4953 w 8762"/>
                  <a:gd name="connsiteY23" fmla="*/ 7048 h 10667"/>
                  <a:gd name="connsiteX24" fmla="*/ 5715 w 8762"/>
                  <a:gd name="connsiteY24" fmla="*/ 7810 h 10667"/>
                  <a:gd name="connsiteX25" fmla="*/ 5905 w 8762"/>
                  <a:gd name="connsiteY25" fmla="*/ 9144 h 10667"/>
                  <a:gd name="connsiteX26" fmla="*/ 6096 w 8762"/>
                  <a:gd name="connsiteY26" fmla="*/ 10668 h 10667"/>
                  <a:gd name="connsiteX27" fmla="*/ 8763 w 8762"/>
                  <a:gd name="connsiteY27" fmla="*/ 10668 h 10667"/>
                  <a:gd name="connsiteX28" fmla="*/ 8572 w 8762"/>
                  <a:gd name="connsiteY28" fmla="*/ 10001 h 10667"/>
                  <a:gd name="connsiteX29" fmla="*/ 8572 w 8762"/>
                  <a:gd name="connsiteY29" fmla="*/ 10001 h 10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8762" h="10667">
                    <a:moveTo>
                      <a:pt x="5429" y="4572"/>
                    </a:moveTo>
                    <a:cubicBezTo>
                      <a:pt x="5429" y="4572"/>
                      <a:pt x="4572" y="4953"/>
                      <a:pt x="3905" y="4953"/>
                    </a:cubicBezTo>
                    <a:lnTo>
                      <a:pt x="2857" y="4953"/>
                    </a:lnTo>
                    <a:lnTo>
                      <a:pt x="2857" y="1810"/>
                    </a:lnTo>
                    <a:lnTo>
                      <a:pt x="3524" y="1810"/>
                    </a:lnTo>
                    <a:cubicBezTo>
                      <a:pt x="4191" y="1810"/>
                      <a:pt x="4763" y="1810"/>
                      <a:pt x="5143" y="2000"/>
                    </a:cubicBezTo>
                    <a:cubicBezTo>
                      <a:pt x="5715" y="2191"/>
                      <a:pt x="6001" y="2667"/>
                      <a:pt x="6001" y="3238"/>
                    </a:cubicBezTo>
                    <a:cubicBezTo>
                      <a:pt x="6001" y="3810"/>
                      <a:pt x="5810" y="4286"/>
                      <a:pt x="5429" y="4477"/>
                    </a:cubicBezTo>
                    <a:lnTo>
                      <a:pt x="5429" y="4477"/>
                    </a:lnTo>
                    <a:close/>
                    <a:moveTo>
                      <a:pt x="8572" y="10096"/>
                    </a:moveTo>
                    <a:lnTo>
                      <a:pt x="8572" y="8858"/>
                    </a:lnTo>
                    <a:cubicBezTo>
                      <a:pt x="8572" y="7810"/>
                      <a:pt x="8191" y="6953"/>
                      <a:pt x="7620" y="6477"/>
                    </a:cubicBezTo>
                    <a:cubicBezTo>
                      <a:pt x="7239" y="6191"/>
                      <a:pt x="6763" y="6001"/>
                      <a:pt x="6096" y="5810"/>
                    </a:cubicBezTo>
                    <a:cubicBezTo>
                      <a:pt x="6858" y="5810"/>
                      <a:pt x="7429" y="5525"/>
                      <a:pt x="7906" y="5143"/>
                    </a:cubicBezTo>
                    <a:cubicBezTo>
                      <a:pt x="8382" y="4763"/>
                      <a:pt x="8668" y="4096"/>
                      <a:pt x="8668" y="3143"/>
                    </a:cubicBezTo>
                    <a:cubicBezTo>
                      <a:pt x="8668" y="2000"/>
                      <a:pt x="8191" y="1143"/>
                      <a:pt x="7239" y="571"/>
                    </a:cubicBezTo>
                    <a:cubicBezTo>
                      <a:pt x="6667" y="286"/>
                      <a:pt x="6001" y="95"/>
                      <a:pt x="5143" y="0"/>
                    </a:cubicBezTo>
                    <a:lnTo>
                      <a:pt x="2953" y="0"/>
                    </a:lnTo>
                    <a:cubicBezTo>
                      <a:pt x="2953" y="0"/>
                      <a:pt x="0" y="0"/>
                      <a:pt x="0" y="0"/>
                    </a:cubicBezTo>
                    <a:lnTo>
                      <a:pt x="0" y="10668"/>
                    </a:lnTo>
                    <a:lnTo>
                      <a:pt x="2762" y="10668"/>
                    </a:lnTo>
                    <a:lnTo>
                      <a:pt x="2762" y="6858"/>
                    </a:lnTo>
                    <a:lnTo>
                      <a:pt x="4000" y="6858"/>
                    </a:lnTo>
                    <a:cubicBezTo>
                      <a:pt x="4000" y="6858"/>
                      <a:pt x="4763" y="6953"/>
                      <a:pt x="4953" y="7048"/>
                    </a:cubicBezTo>
                    <a:cubicBezTo>
                      <a:pt x="5334" y="7239"/>
                      <a:pt x="5620" y="7429"/>
                      <a:pt x="5715" y="7810"/>
                    </a:cubicBezTo>
                    <a:cubicBezTo>
                      <a:pt x="5715" y="8001"/>
                      <a:pt x="5810" y="8477"/>
                      <a:pt x="5905" y="9144"/>
                    </a:cubicBezTo>
                    <a:cubicBezTo>
                      <a:pt x="5905" y="9811"/>
                      <a:pt x="5905" y="10287"/>
                      <a:pt x="6096" y="10668"/>
                    </a:cubicBezTo>
                    <a:lnTo>
                      <a:pt x="8763" y="10668"/>
                    </a:lnTo>
                    <a:lnTo>
                      <a:pt x="8572" y="10001"/>
                    </a:lnTo>
                    <a:lnTo>
                      <a:pt x="8572" y="10001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1092" name="Gruppieren 1091">
            <a:extLst>
              <a:ext uri="{FF2B5EF4-FFF2-40B4-BE49-F238E27FC236}">
                <a16:creationId xmlns:a16="http://schemas.microsoft.com/office/drawing/2014/main" id="{29C17717-6FC7-2333-26A6-53769B581CAB}"/>
              </a:ext>
            </a:extLst>
          </p:cNvPr>
          <p:cNvGrpSpPr/>
          <p:nvPr/>
        </p:nvGrpSpPr>
        <p:grpSpPr>
          <a:xfrm>
            <a:off x="7429434" y="1812090"/>
            <a:ext cx="2124817" cy="1975175"/>
            <a:chOff x="6889833" y="2038673"/>
            <a:chExt cx="2157417" cy="2005479"/>
          </a:xfrm>
        </p:grpSpPr>
        <p:sp>
          <p:nvSpPr>
            <p:cNvPr id="1093" name="Ellipse 11">
              <a:extLst>
                <a:ext uri="{FF2B5EF4-FFF2-40B4-BE49-F238E27FC236}">
                  <a16:creationId xmlns:a16="http://schemas.microsoft.com/office/drawing/2014/main" id="{16466204-E2C2-E328-DF90-1760454CFAFA}"/>
                </a:ext>
              </a:extLst>
            </p:cNvPr>
            <p:cNvSpPr/>
            <p:nvPr/>
          </p:nvSpPr>
          <p:spPr bwMode="gray">
            <a:xfrm>
              <a:off x="6966864" y="2038673"/>
              <a:ext cx="2005479" cy="2005479"/>
            </a:xfrm>
            <a:prstGeom prst="ellipse">
              <a:avLst/>
            </a:prstGeom>
            <a:solidFill>
              <a:schemeClr val="bg1">
                <a:alpha val="4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>
                <a:spcAft>
                  <a:spcPts val="600"/>
                </a:spcAft>
              </a:pPr>
              <a:endParaRPr lang="de-DE" sz="160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1094" name="Gruppieren 1093">
              <a:extLst>
                <a:ext uri="{FF2B5EF4-FFF2-40B4-BE49-F238E27FC236}">
                  <a16:creationId xmlns:a16="http://schemas.microsoft.com/office/drawing/2014/main" id="{D8C7C9D2-CB6A-C2A6-9029-71E31F700308}"/>
                </a:ext>
              </a:extLst>
            </p:cNvPr>
            <p:cNvGrpSpPr/>
            <p:nvPr/>
          </p:nvGrpSpPr>
          <p:grpSpPr>
            <a:xfrm>
              <a:off x="6889833" y="2536955"/>
              <a:ext cx="2157417" cy="1143665"/>
              <a:chOff x="6397653" y="3770808"/>
              <a:chExt cx="2157417" cy="1143665"/>
            </a:xfrm>
          </p:grpSpPr>
          <p:sp>
            <p:nvSpPr>
              <p:cNvPr id="1095" name="Rechteck 1094">
                <a:extLst>
                  <a:ext uri="{FF2B5EF4-FFF2-40B4-BE49-F238E27FC236}">
                    <a16:creationId xmlns:a16="http://schemas.microsoft.com/office/drawing/2014/main" id="{0A6D387D-C5FF-0AF2-6846-458E508DCABE}"/>
                  </a:ext>
                </a:extLst>
              </p:cNvPr>
              <p:cNvSpPr/>
              <p:nvPr/>
            </p:nvSpPr>
            <p:spPr>
              <a:xfrm>
                <a:off x="6397653" y="3770808"/>
                <a:ext cx="2157417" cy="792000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algn="ctr" rtl="0">
                  <a:lnSpc>
                    <a:spcPct val="90000"/>
                  </a:lnSpc>
                  <a:buClr>
                    <a:srgbClr val="00136F"/>
                  </a:buClr>
                </a:pPr>
                <a:r>
                  <a:rPr lang="de-DE" sz="4400" b="1">
                    <a:latin typeface="+mj-lt"/>
                  </a:rPr>
                  <a:t>3.500</a:t>
                </a:r>
                <a:r>
                  <a:rPr lang="de-DE" sz="1400"/>
                  <a:t> </a:t>
                </a:r>
              </a:p>
            </p:txBody>
          </p:sp>
          <p:sp>
            <p:nvSpPr>
              <p:cNvPr id="1096" name="Textfeld 1095">
                <a:extLst>
                  <a:ext uri="{FF2B5EF4-FFF2-40B4-BE49-F238E27FC236}">
                    <a16:creationId xmlns:a16="http://schemas.microsoft.com/office/drawing/2014/main" id="{B107E89D-740F-9959-DB07-B5AC74FAAA82}"/>
                  </a:ext>
                </a:extLst>
              </p:cNvPr>
              <p:cNvSpPr txBox="1"/>
              <p:nvPr/>
            </p:nvSpPr>
            <p:spPr bwMode="gray">
              <a:xfrm>
                <a:off x="6479621" y="4490269"/>
                <a:ext cx="1993480" cy="424204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 rtl="0">
                  <a:lnSpc>
                    <a:spcPct val="90000"/>
                  </a:lnSpc>
                  <a:buClr>
                    <a:srgbClr val="00136F"/>
                  </a:buClr>
                </a:pPr>
                <a:r>
                  <a:rPr lang="de-DE" sz="1400">
                    <a:solidFill>
                      <a:schemeClr val="bg2"/>
                    </a:solidFill>
                  </a:rPr>
                  <a:t>Server</a:t>
                </a:r>
                <a:endParaRPr lang="de-DE" sz="1400" baseline="30000">
                  <a:solidFill>
                    <a:schemeClr val="bg2"/>
                  </a:solidFill>
                </a:endParaRPr>
              </a:p>
            </p:txBody>
          </p:sp>
        </p:grpSp>
      </p:grpSp>
      <p:grpSp>
        <p:nvGrpSpPr>
          <p:cNvPr id="1097" name="Gruppieren 1096">
            <a:extLst>
              <a:ext uri="{FF2B5EF4-FFF2-40B4-BE49-F238E27FC236}">
                <a16:creationId xmlns:a16="http://schemas.microsoft.com/office/drawing/2014/main" id="{13661A57-2822-8A82-5215-C6B80F00CA80}"/>
              </a:ext>
            </a:extLst>
          </p:cNvPr>
          <p:cNvGrpSpPr/>
          <p:nvPr/>
        </p:nvGrpSpPr>
        <p:grpSpPr>
          <a:xfrm>
            <a:off x="9367231" y="1920213"/>
            <a:ext cx="2124817" cy="1975175"/>
            <a:chOff x="6889833" y="2038673"/>
            <a:chExt cx="2157417" cy="2005479"/>
          </a:xfrm>
        </p:grpSpPr>
        <p:sp>
          <p:nvSpPr>
            <p:cNvPr id="1098" name="Ellipse 11">
              <a:extLst>
                <a:ext uri="{FF2B5EF4-FFF2-40B4-BE49-F238E27FC236}">
                  <a16:creationId xmlns:a16="http://schemas.microsoft.com/office/drawing/2014/main" id="{B5FE709B-E39C-296E-0EF9-C4B993A132F3}"/>
                </a:ext>
              </a:extLst>
            </p:cNvPr>
            <p:cNvSpPr/>
            <p:nvPr/>
          </p:nvSpPr>
          <p:spPr bwMode="gray">
            <a:xfrm>
              <a:off x="6966864" y="2038673"/>
              <a:ext cx="2005479" cy="2005479"/>
            </a:xfrm>
            <a:prstGeom prst="ellipse">
              <a:avLst/>
            </a:prstGeom>
            <a:solidFill>
              <a:schemeClr val="bg1">
                <a:alpha val="4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>
                <a:spcAft>
                  <a:spcPts val="600"/>
                </a:spcAft>
              </a:pPr>
              <a:endParaRPr lang="de-DE" sz="160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1099" name="Gruppieren 1098">
              <a:extLst>
                <a:ext uri="{FF2B5EF4-FFF2-40B4-BE49-F238E27FC236}">
                  <a16:creationId xmlns:a16="http://schemas.microsoft.com/office/drawing/2014/main" id="{A2300F6E-9553-D9CD-41C1-9A7FF2B771ED}"/>
                </a:ext>
              </a:extLst>
            </p:cNvPr>
            <p:cNvGrpSpPr/>
            <p:nvPr/>
          </p:nvGrpSpPr>
          <p:grpSpPr>
            <a:xfrm>
              <a:off x="6889833" y="2536955"/>
              <a:ext cx="2157417" cy="1143665"/>
              <a:chOff x="6397653" y="3770808"/>
              <a:chExt cx="2157417" cy="1143665"/>
            </a:xfrm>
          </p:grpSpPr>
          <p:sp>
            <p:nvSpPr>
              <p:cNvPr id="1100" name="Rechteck 1099">
                <a:extLst>
                  <a:ext uri="{FF2B5EF4-FFF2-40B4-BE49-F238E27FC236}">
                    <a16:creationId xmlns:a16="http://schemas.microsoft.com/office/drawing/2014/main" id="{2B9EFC44-E028-145C-4E4B-AA8E5D495E44}"/>
                  </a:ext>
                </a:extLst>
              </p:cNvPr>
              <p:cNvSpPr/>
              <p:nvPr/>
            </p:nvSpPr>
            <p:spPr>
              <a:xfrm>
                <a:off x="6397653" y="3770808"/>
                <a:ext cx="2157417" cy="792000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algn="ctr" rtl="0">
                  <a:lnSpc>
                    <a:spcPct val="90000"/>
                  </a:lnSpc>
                  <a:buClr>
                    <a:srgbClr val="00136F"/>
                  </a:buClr>
                </a:pPr>
                <a:r>
                  <a:rPr lang="de-DE" sz="4400" b="1">
                    <a:latin typeface="+mj-lt"/>
                  </a:rPr>
                  <a:t>Azure</a:t>
                </a:r>
                <a:endParaRPr lang="de-DE" sz="1400"/>
              </a:p>
            </p:txBody>
          </p:sp>
          <p:sp>
            <p:nvSpPr>
              <p:cNvPr id="1101" name="Textfeld 1100">
                <a:extLst>
                  <a:ext uri="{FF2B5EF4-FFF2-40B4-BE49-F238E27FC236}">
                    <a16:creationId xmlns:a16="http://schemas.microsoft.com/office/drawing/2014/main" id="{1E35AB8A-3BC7-398E-78A1-6A7E7B4CFA60}"/>
                  </a:ext>
                </a:extLst>
              </p:cNvPr>
              <p:cNvSpPr txBox="1"/>
              <p:nvPr/>
            </p:nvSpPr>
            <p:spPr bwMode="gray">
              <a:xfrm>
                <a:off x="6479621" y="4490269"/>
                <a:ext cx="1993480" cy="424204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 rtl="0">
                  <a:lnSpc>
                    <a:spcPct val="90000"/>
                  </a:lnSpc>
                  <a:buClr>
                    <a:srgbClr val="00136F"/>
                  </a:buClr>
                </a:pPr>
                <a:r>
                  <a:rPr lang="de-DE" sz="1400">
                    <a:solidFill>
                      <a:schemeClr val="bg2"/>
                    </a:solidFill>
                  </a:rPr>
                  <a:t>Cloud</a:t>
                </a:r>
                <a:endParaRPr lang="de-DE" sz="1400" baseline="30000">
                  <a:solidFill>
                    <a:schemeClr val="bg2"/>
                  </a:solidFill>
                </a:endParaRPr>
              </a:p>
            </p:txBody>
          </p:sp>
        </p:grpSp>
      </p:grpSp>
      <p:grpSp>
        <p:nvGrpSpPr>
          <p:cNvPr id="1102" name="Gruppieren 1101">
            <a:extLst>
              <a:ext uri="{FF2B5EF4-FFF2-40B4-BE49-F238E27FC236}">
                <a16:creationId xmlns:a16="http://schemas.microsoft.com/office/drawing/2014/main" id="{5C4A7CBF-9FB3-C5A3-2752-E076340F3238}"/>
              </a:ext>
            </a:extLst>
          </p:cNvPr>
          <p:cNvGrpSpPr/>
          <p:nvPr/>
        </p:nvGrpSpPr>
        <p:grpSpPr>
          <a:xfrm>
            <a:off x="8154346" y="3105369"/>
            <a:ext cx="2124817" cy="1975175"/>
            <a:chOff x="6889833" y="2038673"/>
            <a:chExt cx="2157417" cy="2005479"/>
          </a:xfrm>
        </p:grpSpPr>
        <p:sp>
          <p:nvSpPr>
            <p:cNvPr id="1103" name="Ellipse 11">
              <a:extLst>
                <a:ext uri="{FF2B5EF4-FFF2-40B4-BE49-F238E27FC236}">
                  <a16:creationId xmlns:a16="http://schemas.microsoft.com/office/drawing/2014/main" id="{EFC84580-DB32-BB00-97CA-CE797F5C4E1A}"/>
                </a:ext>
              </a:extLst>
            </p:cNvPr>
            <p:cNvSpPr/>
            <p:nvPr/>
          </p:nvSpPr>
          <p:spPr bwMode="gray">
            <a:xfrm>
              <a:off x="6966864" y="2038673"/>
              <a:ext cx="2005479" cy="2005479"/>
            </a:xfrm>
            <a:prstGeom prst="ellipse">
              <a:avLst/>
            </a:prstGeom>
            <a:solidFill>
              <a:schemeClr val="bg1">
                <a:alpha val="4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>
                <a:spcAft>
                  <a:spcPts val="600"/>
                </a:spcAft>
              </a:pPr>
              <a:endParaRPr lang="de-DE" sz="160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1104" name="Gruppieren 1103">
              <a:extLst>
                <a:ext uri="{FF2B5EF4-FFF2-40B4-BE49-F238E27FC236}">
                  <a16:creationId xmlns:a16="http://schemas.microsoft.com/office/drawing/2014/main" id="{E8725935-4336-7C16-CFD8-F1597CA78FE7}"/>
                </a:ext>
              </a:extLst>
            </p:cNvPr>
            <p:cNvGrpSpPr/>
            <p:nvPr/>
          </p:nvGrpSpPr>
          <p:grpSpPr>
            <a:xfrm>
              <a:off x="6889833" y="2536955"/>
              <a:ext cx="2157417" cy="1143665"/>
              <a:chOff x="6397653" y="3770808"/>
              <a:chExt cx="2157417" cy="1143665"/>
            </a:xfrm>
          </p:grpSpPr>
          <p:sp>
            <p:nvSpPr>
              <p:cNvPr id="1105" name="Rechteck 1104">
                <a:extLst>
                  <a:ext uri="{FF2B5EF4-FFF2-40B4-BE49-F238E27FC236}">
                    <a16:creationId xmlns:a16="http://schemas.microsoft.com/office/drawing/2014/main" id="{60DAC184-140E-F0FA-7B7D-B32ACBB7E64B}"/>
                  </a:ext>
                </a:extLst>
              </p:cNvPr>
              <p:cNvSpPr/>
              <p:nvPr/>
            </p:nvSpPr>
            <p:spPr>
              <a:xfrm>
                <a:off x="6397653" y="3770808"/>
                <a:ext cx="2157417" cy="792000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algn="ctr" rtl="0">
                  <a:lnSpc>
                    <a:spcPct val="90000"/>
                  </a:lnSpc>
                  <a:buClr>
                    <a:srgbClr val="00136F"/>
                  </a:buClr>
                </a:pPr>
                <a:r>
                  <a:rPr lang="de-DE" sz="4400" b="1">
                    <a:latin typeface="+mj-lt"/>
                  </a:rPr>
                  <a:t>120 </a:t>
                </a:r>
                <a:endParaRPr lang="de-DE" sz="1400"/>
              </a:p>
            </p:txBody>
          </p:sp>
          <p:sp>
            <p:nvSpPr>
              <p:cNvPr id="1106" name="Textfeld 1105">
                <a:extLst>
                  <a:ext uri="{FF2B5EF4-FFF2-40B4-BE49-F238E27FC236}">
                    <a16:creationId xmlns:a16="http://schemas.microsoft.com/office/drawing/2014/main" id="{A36FEBEE-9190-A7E8-5F6A-D7268472376E}"/>
                  </a:ext>
                </a:extLst>
              </p:cNvPr>
              <p:cNvSpPr txBox="1"/>
              <p:nvPr/>
            </p:nvSpPr>
            <p:spPr bwMode="gray">
              <a:xfrm>
                <a:off x="6479621" y="4490269"/>
                <a:ext cx="1993480" cy="424204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 rtl="0">
                  <a:lnSpc>
                    <a:spcPct val="90000"/>
                  </a:lnSpc>
                  <a:buClr>
                    <a:srgbClr val="00136F"/>
                  </a:buClr>
                </a:pPr>
                <a:r>
                  <a:rPr lang="de-DE" sz="1400">
                    <a:solidFill>
                      <a:schemeClr val="bg2"/>
                    </a:solidFill>
                  </a:rPr>
                  <a:t>IT-Infrastruktur Mitarbeiter </a:t>
                </a:r>
                <a:br>
                  <a:rPr lang="de-DE" sz="1400">
                    <a:solidFill>
                      <a:schemeClr val="bg2"/>
                    </a:solidFill>
                  </a:rPr>
                </a:br>
                <a:r>
                  <a:rPr lang="de-DE" sz="1400">
                    <a:solidFill>
                      <a:schemeClr val="bg2"/>
                    </a:solidFill>
                  </a:rPr>
                  <a:t>weltweit</a:t>
                </a:r>
                <a:endParaRPr lang="de-DE" sz="1400" baseline="30000">
                  <a:solidFill>
                    <a:schemeClr val="bg2"/>
                  </a:solidFill>
                </a:endParaRPr>
              </a:p>
            </p:txBody>
          </p:sp>
        </p:grpSp>
      </p:grpSp>
      <p:grpSp>
        <p:nvGrpSpPr>
          <p:cNvPr id="1107" name="Gruppieren 1106">
            <a:extLst>
              <a:ext uri="{FF2B5EF4-FFF2-40B4-BE49-F238E27FC236}">
                <a16:creationId xmlns:a16="http://schemas.microsoft.com/office/drawing/2014/main" id="{A7BDAC4F-5FDB-E0E7-5597-155A9BAD67A6}"/>
              </a:ext>
            </a:extLst>
          </p:cNvPr>
          <p:cNvGrpSpPr/>
          <p:nvPr/>
        </p:nvGrpSpPr>
        <p:grpSpPr>
          <a:xfrm>
            <a:off x="5014655" y="1321282"/>
            <a:ext cx="2545414" cy="2169626"/>
            <a:chOff x="6971801" y="2164614"/>
            <a:chExt cx="2178972" cy="1857283"/>
          </a:xfrm>
        </p:grpSpPr>
        <p:sp>
          <p:nvSpPr>
            <p:cNvPr id="1108" name="Ellipse 11">
              <a:extLst>
                <a:ext uri="{FF2B5EF4-FFF2-40B4-BE49-F238E27FC236}">
                  <a16:creationId xmlns:a16="http://schemas.microsoft.com/office/drawing/2014/main" id="{46921843-004C-EE7A-ABBB-4482AA73C9CD}"/>
                </a:ext>
              </a:extLst>
            </p:cNvPr>
            <p:cNvSpPr/>
            <p:nvPr/>
          </p:nvSpPr>
          <p:spPr bwMode="gray">
            <a:xfrm>
              <a:off x="7087437" y="2164614"/>
              <a:ext cx="1857283" cy="1857283"/>
            </a:xfrm>
            <a:prstGeom prst="ellipse">
              <a:avLst/>
            </a:prstGeom>
            <a:solidFill>
              <a:schemeClr val="bg1">
                <a:alpha val="4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>
                <a:spcAft>
                  <a:spcPts val="600"/>
                </a:spcAft>
              </a:pPr>
              <a:endParaRPr lang="de-DE" sz="160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1109" name="Gruppieren 1108">
              <a:extLst>
                <a:ext uri="{FF2B5EF4-FFF2-40B4-BE49-F238E27FC236}">
                  <a16:creationId xmlns:a16="http://schemas.microsoft.com/office/drawing/2014/main" id="{940E6763-35DA-EAD9-1360-FF1AC5263AC3}"/>
                </a:ext>
              </a:extLst>
            </p:cNvPr>
            <p:cNvGrpSpPr/>
            <p:nvPr/>
          </p:nvGrpSpPr>
          <p:grpSpPr>
            <a:xfrm>
              <a:off x="6971801" y="2229543"/>
              <a:ext cx="2178972" cy="1177297"/>
              <a:chOff x="6479621" y="3463396"/>
              <a:chExt cx="2178972" cy="1177297"/>
            </a:xfrm>
          </p:grpSpPr>
          <p:sp>
            <p:nvSpPr>
              <p:cNvPr id="1110" name="Rechteck 1109">
                <a:extLst>
                  <a:ext uri="{FF2B5EF4-FFF2-40B4-BE49-F238E27FC236}">
                    <a16:creationId xmlns:a16="http://schemas.microsoft.com/office/drawing/2014/main" id="{199DC062-9E8C-D3ED-4BCB-4E1C6BBDB9BE}"/>
                  </a:ext>
                </a:extLst>
              </p:cNvPr>
              <p:cNvSpPr/>
              <p:nvPr/>
            </p:nvSpPr>
            <p:spPr>
              <a:xfrm>
                <a:off x="6501176" y="3463396"/>
                <a:ext cx="2157417" cy="792000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algn="ctr" rtl="0">
                  <a:lnSpc>
                    <a:spcPct val="90000"/>
                  </a:lnSpc>
                  <a:buClr>
                    <a:srgbClr val="00136F"/>
                  </a:buClr>
                </a:pPr>
                <a:r>
                  <a:rPr lang="de-DE" sz="2800" b="1">
                    <a:latin typeface="+mj-lt"/>
                  </a:rPr>
                  <a:t>9,5 Mrd. €</a:t>
                </a:r>
                <a:endParaRPr lang="de-DE" sz="1000"/>
              </a:p>
            </p:txBody>
          </p:sp>
          <p:sp>
            <p:nvSpPr>
              <p:cNvPr id="1111" name="Textfeld 1110">
                <a:extLst>
                  <a:ext uri="{FF2B5EF4-FFF2-40B4-BE49-F238E27FC236}">
                    <a16:creationId xmlns:a16="http://schemas.microsoft.com/office/drawing/2014/main" id="{B202498B-1A8C-83B6-9688-CA3312CF19C6}"/>
                  </a:ext>
                </a:extLst>
              </p:cNvPr>
              <p:cNvSpPr txBox="1"/>
              <p:nvPr/>
            </p:nvSpPr>
            <p:spPr bwMode="gray">
              <a:xfrm>
                <a:off x="6479621" y="4216489"/>
                <a:ext cx="1993480" cy="424204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 rtl="0">
                  <a:lnSpc>
                    <a:spcPct val="90000"/>
                  </a:lnSpc>
                  <a:buClr>
                    <a:srgbClr val="00136F"/>
                  </a:buClr>
                </a:pPr>
                <a:r>
                  <a:rPr lang="de-DE" sz="1400" b="0" cap="none">
                    <a:solidFill>
                      <a:schemeClr val="bg2"/>
                    </a:solidFill>
                    <a:latin typeface="+mn-lt"/>
                  </a:rPr>
                  <a:t>Umsatz in 2023</a:t>
                </a:r>
                <a:endParaRPr lang="de-DE" sz="1400" baseline="30000">
                  <a:solidFill>
                    <a:schemeClr val="bg2"/>
                  </a:solidFill>
                </a:endParaRPr>
              </a:p>
            </p:txBody>
          </p:sp>
        </p:grpSp>
      </p:grpSp>
      <p:sp>
        <p:nvSpPr>
          <p:cNvPr id="1112" name="Fußzeilenplatzhalter 1111">
            <a:extLst>
              <a:ext uri="{FF2B5EF4-FFF2-40B4-BE49-F238E27FC236}">
                <a16:creationId xmlns:a16="http://schemas.microsoft.com/office/drawing/2014/main" id="{B5096A4F-F832-2C69-BC39-0B58F19E8F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1113" name="Foliennummernplatzhalter 1112">
            <a:extLst>
              <a:ext uri="{FF2B5EF4-FFF2-40B4-BE49-F238E27FC236}">
                <a16:creationId xmlns:a16="http://schemas.microsoft.com/office/drawing/2014/main" id="{F4CD17CF-0640-6FEB-5B7D-2D6D5EC0F6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2</a:t>
            </a:fld>
            <a:endParaRPr lang="en-US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0F66969-0858-1528-B97C-805C11B9ED74}"/>
              </a:ext>
            </a:extLst>
          </p:cNvPr>
          <p:cNvGrpSpPr/>
          <p:nvPr/>
        </p:nvGrpSpPr>
        <p:grpSpPr>
          <a:xfrm>
            <a:off x="10103796" y="3703440"/>
            <a:ext cx="1960615" cy="1608835"/>
            <a:chOff x="6889833" y="2038673"/>
            <a:chExt cx="2157417" cy="2005479"/>
          </a:xfrm>
        </p:grpSpPr>
        <p:sp>
          <p:nvSpPr>
            <p:cNvPr id="15" name="Ellipse 11">
              <a:extLst>
                <a:ext uri="{FF2B5EF4-FFF2-40B4-BE49-F238E27FC236}">
                  <a16:creationId xmlns:a16="http://schemas.microsoft.com/office/drawing/2014/main" id="{86046669-5BCB-A058-BA11-C7DAC874A490}"/>
                </a:ext>
              </a:extLst>
            </p:cNvPr>
            <p:cNvSpPr/>
            <p:nvPr/>
          </p:nvSpPr>
          <p:spPr bwMode="gray">
            <a:xfrm>
              <a:off x="6966864" y="2038673"/>
              <a:ext cx="2005479" cy="2005479"/>
            </a:xfrm>
            <a:prstGeom prst="ellipse">
              <a:avLst/>
            </a:prstGeom>
            <a:solidFill>
              <a:schemeClr val="bg1">
                <a:alpha val="4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>
                <a:spcAft>
                  <a:spcPts val="600"/>
                </a:spcAft>
              </a:pPr>
              <a:endParaRPr lang="de-DE" sz="160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24F530DE-1EE4-6973-91D2-EB837DFDF03F}"/>
                </a:ext>
              </a:extLst>
            </p:cNvPr>
            <p:cNvGrpSpPr/>
            <p:nvPr/>
          </p:nvGrpSpPr>
          <p:grpSpPr>
            <a:xfrm>
              <a:off x="6889833" y="2536955"/>
              <a:ext cx="2157417" cy="1143665"/>
              <a:chOff x="6397653" y="3770808"/>
              <a:chExt cx="2157417" cy="1143665"/>
            </a:xfrm>
          </p:grpSpPr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11D95A3D-945F-D943-7E6C-48DB2A5BF1DB}"/>
                  </a:ext>
                </a:extLst>
              </p:cNvPr>
              <p:cNvSpPr/>
              <p:nvPr/>
            </p:nvSpPr>
            <p:spPr>
              <a:xfrm>
                <a:off x="6397653" y="3770808"/>
                <a:ext cx="2157417" cy="792000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algn="ctr" rtl="0">
                  <a:lnSpc>
                    <a:spcPct val="90000"/>
                  </a:lnSpc>
                  <a:buClr>
                    <a:srgbClr val="00136F"/>
                  </a:buClr>
                </a:pPr>
                <a:r>
                  <a:rPr lang="de-DE" sz="4400" b="1" dirty="0">
                    <a:latin typeface="+mj-lt"/>
                  </a:rPr>
                  <a:t>1920 </a:t>
                </a:r>
                <a:endParaRPr lang="de-DE" sz="1400" dirty="0"/>
              </a:p>
            </p:txBody>
          </p:sp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4F6B6191-564E-66C5-B4FA-7E0B32357C4E}"/>
                  </a:ext>
                </a:extLst>
              </p:cNvPr>
              <p:cNvSpPr txBox="1"/>
              <p:nvPr/>
            </p:nvSpPr>
            <p:spPr bwMode="gray">
              <a:xfrm>
                <a:off x="6479621" y="4490269"/>
                <a:ext cx="1993480" cy="424204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 rtl="0">
                  <a:lnSpc>
                    <a:spcPct val="90000"/>
                  </a:lnSpc>
                  <a:buClr>
                    <a:srgbClr val="00136F"/>
                  </a:buClr>
                </a:pPr>
                <a:r>
                  <a:rPr lang="de-DE" sz="1400" dirty="0">
                    <a:solidFill>
                      <a:schemeClr val="bg2"/>
                    </a:solidFill>
                  </a:rPr>
                  <a:t>Switches</a:t>
                </a:r>
                <a:endParaRPr lang="de-DE" sz="1400" baseline="30000" dirty="0">
                  <a:solidFill>
                    <a:schemeClr val="bg2"/>
                  </a:solidFill>
                </a:endParaRPr>
              </a:p>
            </p:txBody>
          </p:sp>
        </p:grp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AF0BA727-EC9F-3794-0CD5-FD6C19A18471}"/>
              </a:ext>
            </a:extLst>
          </p:cNvPr>
          <p:cNvGrpSpPr/>
          <p:nvPr/>
        </p:nvGrpSpPr>
        <p:grpSpPr>
          <a:xfrm>
            <a:off x="5827954" y="3087457"/>
            <a:ext cx="1960615" cy="1608835"/>
            <a:chOff x="6889833" y="2038673"/>
            <a:chExt cx="2157417" cy="2005479"/>
          </a:xfrm>
        </p:grpSpPr>
        <p:sp>
          <p:nvSpPr>
            <p:cNvPr id="52" name="Ellipse 11">
              <a:extLst>
                <a:ext uri="{FF2B5EF4-FFF2-40B4-BE49-F238E27FC236}">
                  <a16:creationId xmlns:a16="http://schemas.microsoft.com/office/drawing/2014/main" id="{8ECD7996-0F1B-D1CF-0861-D6396226AF7E}"/>
                </a:ext>
              </a:extLst>
            </p:cNvPr>
            <p:cNvSpPr/>
            <p:nvPr/>
          </p:nvSpPr>
          <p:spPr bwMode="gray">
            <a:xfrm>
              <a:off x="6966864" y="2038673"/>
              <a:ext cx="2005479" cy="2005479"/>
            </a:xfrm>
            <a:prstGeom prst="ellipse">
              <a:avLst/>
            </a:prstGeom>
            <a:solidFill>
              <a:schemeClr val="bg1">
                <a:alpha val="4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>
                <a:spcAft>
                  <a:spcPts val="600"/>
                </a:spcAft>
              </a:pPr>
              <a:endParaRPr lang="de-DE" sz="160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66" name="Gruppieren 65">
              <a:extLst>
                <a:ext uri="{FF2B5EF4-FFF2-40B4-BE49-F238E27FC236}">
                  <a16:creationId xmlns:a16="http://schemas.microsoft.com/office/drawing/2014/main" id="{D64DCDF7-A727-55EA-DCA6-1757872A34A7}"/>
                </a:ext>
              </a:extLst>
            </p:cNvPr>
            <p:cNvGrpSpPr/>
            <p:nvPr/>
          </p:nvGrpSpPr>
          <p:grpSpPr>
            <a:xfrm>
              <a:off x="6889833" y="2536955"/>
              <a:ext cx="2157417" cy="1143665"/>
              <a:chOff x="6397653" y="3770808"/>
              <a:chExt cx="2157417" cy="1143665"/>
            </a:xfrm>
          </p:grpSpPr>
          <p:sp>
            <p:nvSpPr>
              <p:cNvPr id="67" name="Rechteck 66">
                <a:extLst>
                  <a:ext uri="{FF2B5EF4-FFF2-40B4-BE49-F238E27FC236}">
                    <a16:creationId xmlns:a16="http://schemas.microsoft.com/office/drawing/2014/main" id="{F292FFEA-9114-A8A5-F988-37ADA7CA9F41}"/>
                  </a:ext>
                </a:extLst>
              </p:cNvPr>
              <p:cNvSpPr/>
              <p:nvPr/>
            </p:nvSpPr>
            <p:spPr>
              <a:xfrm>
                <a:off x="6397653" y="3770808"/>
                <a:ext cx="2157417" cy="792000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algn="ctr" rtl="0">
                  <a:lnSpc>
                    <a:spcPct val="90000"/>
                  </a:lnSpc>
                  <a:buClr>
                    <a:srgbClr val="00136F"/>
                  </a:buClr>
                </a:pPr>
                <a:r>
                  <a:rPr lang="de-DE" sz="4400" b="1" dirty="0">
                    <a:latin typeface="+mj-lt"/>
                  </a:rPr>
                  <a:t>24 </a:t>
                </a:r>
                <a:endParaRPr lang="de-DE" sz="1400" dirty="0"/>
              </a:p>
            </p:txBody>
          </p:sp>
          <p:sp>
            <p:nvSpPr>
              <p:cNvPr id="68" name="Textfeld 67">
                <a:extLst>
                  <a:ext uri="{FF2B5EF4-FFF2-40B4-BE49-F238E27FC236}">
                    <a16:creationId xmlns:a16="http://schemas.microsoft.com/office/drawing/2014/main" id="{3C9AF74B-45C7-585F-6D51-3A59DAD2630F}"/>
                  </a:ext>
                </a:extLst>
              </p:cNvPr>
              <p:cNvSpPr txBox="1"/>
              <p:nvPr/>
            </p:nvSpPr>
            <p:spPr bwMode="gray">
              <a:xfrm>
                <a:off x="6479621" y="4490269"/>
                <a:ext cx="1993480" cy="424204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 rtl="0">
                  <a:lnSpc>
                    <a:spcPct val="90000"/>
                  </a:lnSpc>
                  <a:buClr>
                    <a:srgbClr val="00136F"/>
                  </a:buClr>
                </a:pPr>
                <a:r>
                  <a:rPr lang="de-DE" sz="1400" dirty="0">
                    <a:solidFill>
                      <a:schemeClr val="bg2"/>
                    </a:solidFill>
                  </a:rPr>
                  <a:t>Fabrike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395248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B0CDEE2-B3E5-16E2-B104-42416AFF1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2169000"/>
            <a:ext cx="5903590" cy="2520000"/>
          </a:xfrm>
        </p:spPr>
        <p:txBody>
          <a:bodyPr/>
          <a:lstStyle/>
          <a:p>
            <a:r>
              <a:rPr lang="de-DE" sz="5400" err="1"/>
              <a:t>Ansible</a:t>
            </a:r>
            <a:br>
              <a:rPr lang="de-DE" sz="5400"/>
            </a:br>
            <a:r>
              <a:rPr lang="de-DE" sz="4800" b="0"/>
              <a:t>Not </a:t>
            </a:r>
            <a:r>
              <a:rPr lang="de-DE" sz="4800" b="0" err="1"/>
              <a:t>Only</a:t>
            </a:r>
            <a:r>
              <a:rPr lang="de-DE" sz="4800" b="0"/>
              <a:t> </a:t>
            </a:r>
            <a:r>
              <a:rPr lang="de-DE" sz="4800" b="0" err="1"/>
              <a:t>for</a:t>
            </a:r>
            <a:r>
              <a:rPr lang="de-DE" sz="4800" b="0"/>
              <a:t> </a:t>
            </a:r>
            <a:r>
              <a:rPr lang="de-DE" sz="4800" b="0" err="1"/>
              <a:t>DevOps</a:t>
            </a:r>
            <a:r>
              <a:rPr lang="de-DE" sz="4800" b="0"/>
              <a:t> Unicorns</a:t>
            </a:r>
            <a:br>
              <a:rPr lang="de-DE" sz="4800" b="0"/>
            </a:br>
            <a:endParaRPr lang="de-DE" sz="5400" b="0"/>
          </a:p>
        </p:txBody>
      </p:sp>
      <p:pic>
        <p:nvPicPr>
          <p:cNvPr id="8" name="Bildplatzhalter 7" descr="Ein Bild, das Computermonitor, Cartoon, Computer, Ausgabegerät enthält.&#10;&#10;Automatisch generierte Beschreibung">
            <a:extLst>
              <a:ext uri="{FF2B5EF4-FFF2-40B4-BE49-F238E27FC236}">
                <a16:creationId xmlns:a16="http://schemas.microsoft.com/office/drawing/2014/main" id="{44EAA774-06B8-E2A5-1B6A-06A8A8469B6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10104" r="10104"/>
          <a:stretch>
            <a:fillRect/>
          </a:stretch>
        </p:blipFill>
        <p:spPr/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76BFECBA-A7F9-1621-D1AC-5D1A6D62852D}"/>
              </a:ext>
            </a:extLst>
          </p:cNvPr>
          <p:cNvSpPr txBox="1"/>
          <p:nvPr/>
        </p:nvSpPr>
        <p:spPr>
          <a:xfrm>
            <a:off x="528615" y="4210006"/>
            <a:ext cx="5405482" cy="731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>
                <a:latin typeface="+mj-lt"/>
                <a:ea typeface="+mj-ea"/>
                <a:cs typeface="Segoe UI Light" panose="020B0502040204020203" pitchFamily="34" charset="0"/>
              </a:rPr>
              <a:t>Warum </a:t>
            </a:r>
            <a:r>
              <a:rPr lang="de-DE" err="1">
                <a:latin typeface="+mj-lt"/>
                <a:ea typeface="+mj-ea"/>
                <a:cs typeface="Segoe UI Light" panose="020B0502040204020203" pitchFamily="34" charset="0"/>
              </a:rPr>
              <a:t>Ansible</a:t>
            </a:r>
            <a:r>
              <a:rPr lang="de-DE">
                <a:latin typeface="+mj-lt"/>
                <a:ea typeface="+mj-ea"/>
                <a:cs typeface="Segoe UI Light" panose="020B0502040204020203" pitchFamily="34" charset="0"/>
              </a:rPr>
              <a:t> auch in </a:t>
            </a:r>
            <a:br>
              <a:rPr lang="de-DE">
                <a:latin typeface="+mj-lt"/>
                <a:ea typeface="+mj-ea"/>
                <a:cs typeface="Segoe UI Light" panose="020B0502040204020203" pitchFamily="34" charset="0"/>
              </a:rPr>
            </a:br>
            <a:r>
              <a:rPr lang="de-DE">
                <a:latin typeface="+mj-lt"/>
                <a:ea typeface="+mj-ea"/>
                <a:cs typeface="Segoe UI Light" panose="020B0502040204020203" pitchFamily="34" charset="0"/>
              </a:rPr>
              <a:t>IT-Infrastruktur und </a:t>
            </a:r>
            <a:r>
              <a:rPr lang="de-DE" err="1">
                <a:latin typeface="+mj-lt"/>
                <a:ea typeface="+mj-ea"/>
                <a:cs typeface="Segoe UI Light" panose="020B0502040204020203" pitchFamily="34" charset="0"/>
              </a:rPr>
              <a:t>Operations</a:t>
            </a:r>
            <a:r>
              <a:rPr lang="de-DE">
                <a:latin typeface="+mj-lt"/>
                <a:ea typeface="+mj-ea"/>
                <a:cs typeface="Segoe UI Light" panose="020B0502040204020203" pitchFamily="34" charset="0"/>
              </a:rPr>
              <a:t> eine gute Wahl ist</a:t>
            </a:r>
          </a:p>
        </p:txBody>
      </p:sp>
    </p:spTree>
    <p:extLst>
      <p:ext uri="{BB962C8B-B14F-4D97-AF65-F5344CB8AC3E}">
        <p14:creationId xmlns:p14="http://schemas.microsoft.com/office/powerpoint/2010/main" val="2209399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DF1639-E06E-FF57-3B0F-8D2FFA06B3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38D7500D-57A9-1E30-3C8C-E281A4424B76}"/>
              </a:ext>
            </a:extLst>
          </p:cNvPr>
          <p:cNvGrpSpPr/>
          <p:nvPr/>
        </p:nvGrpSpPr>
        <p:grpSpPr>
          <a:xfrm>
            <a:off x="0" y="0"/>
            <a:ext cx="13251543" cy="6909495"/>
            <a:chOff x="0" y="128564"/>
            <a:chExt cx="13152784" cy="6858001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AB86A804-915A-6863-6182-570E84EC7C1B}"/>
                </a:ext>
              </a:extLst>
            </p:cNvPr>
            <p:cNvSpPr/>
            <p:nvPr/>
          </p:nvSpPr>
          <p:spPr bwMode="gray">
            <a:xfrm>
              <a:off x="0" y="128565"/>
              <a:ext cx="6814899" cy="6858000"/>
            </a:xfrm>
            <a:prstGeom prst="rect">
              <a:avLst/>
            </a:prstGeom>
            <a:solidFill>
              <a:srgbClr val="F8F7F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 rtl="0">
                <a:spcAft>
                  <a:spcPts val="600"/>
                </a:spcAft>
              </a:pPr>
              <a:endParaRPr lang="de-DE" sz="1600">
                <a:solidFill>
                  <a:schemeClr val="bg1"/>
                </a:solidFill>
                <a:latin typeface="+mj-lt"/>
              </a:endParaRPr>
            </a:p>
          </p:txBody>
        </p:sp>
        <p:pic>
          <p:nvPicPr>
            <p:cNvPr id="29" name="Grafik 28" descr="Ein Bild, das Person, jung, darstellend enthält.&#10;&#10;Automatisch generierte Beschreibung">
              <a:extLst>
                <a:ext uri="{FF2B5EF4-FFF2-40B4-BE49-F238E27FC236}">
                  <a16:creationId xmlns:a16="http://schemas.microsoft.com/office/drawing/2014/main" id="{FDFD9C89-297A-DD21-7311-99F895D8DD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-24587" r="-17573"/>
            <a:stretch/>
          </p:blipFill>
          <p:spPr>
            <a:xfrm>
              <a:off x="5380397" y="128564"/>
              <a:ext cx="7772387" cy="6858000"/>
            </a:xfrm>
            <a:prstGeom prst="rect">
              <a:avLst/>
            </a:prstGeom>
          </p:spPr>
        </p:pic>
      </p:grp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139CF05-6A50-F58E-A729-103E31D543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985386" y="1662250"/>
            <a:ext cx="3455538" cy="432000"/>
          </a:xfrm>
        </p:spPr>
        <p:txBody>
          <a:bodyPr/>
          <a:lstStyle/>
          <a:p>
            <a:r>
              <a:rPr lang="en-US"/>
              <a:t>Ansible: Mehr </a:t>
            </a:r>
            <a:r>
              <a:rPr lang="en-US" err="1"/>
              <a:t>als</a:t>
            </a:r>
            <a:r>
              <a:rPr lang="en-US"/>
              <a:t> </a:t>
            </a:r>
            <a:r>
              <a:rPr lang="en-US" err="1"/>
              <a:t>nur</a:t>
            </a:r>
            <a:r>
              <a:rPr lang="en-US"/>
              <a:t> DevOps – Ein </a:t>
            </a:r>
            <a:r>
              <a:rPr lang="en-US" err="1"/>
              <a:t>Werkzeug</a:t>
            </a:r>
            <a:r>
              <a:rPr lang="en-US"/>
              <a:t> für die </a:t>
            </a:r>
            <a:r>
              <a:rPr lang="en-US" err="1"/>
              <a:t>gesamte</a:t>
            </a:r>
            <a:r>
              <a:rPr lang="en-US"/>
              <a:t> I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7444497-975F-1D4C-71D9-2ED1E4F6DB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552450" y="1628800"/>
            <a:ext cx="361398" cy="576000"/>
          </a:xfrm>
        </p:spPr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3B4BA538-FD77-817B-B6B9-4F7A52AF13C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552449" y="2204800"/>
            <a:ext cx="3888000" cy="1440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DC08EDC-BFD6-E335-C150-54196B96951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 bwMode="gray">
          <a:xfrm>
            <a:off x="984937" y="2670250"/>
            <a:ext cx="3455538" cy="432000"/>
          </a:xfrm>
        </p:spPr>
        <p:txBody>
          <a:bodyPr/>
          <a:lstStyle/>
          <a:p>
            <a:r>
              <a:rPr lang="en-US"/>
              <a:t>Ansible </a:t>
            </a:r>
            <a:r>
              <a:rPr lang="en-US" err="1"/>
              <a:t>als</a:t>
            </a:r>
            <a:r>
              <a:rPr lang="en-US"/>
              <a:t> </a:t>
            </a:r>
            <a:r>
              <a:rPr lang="en-US" err="1"/>
              <a:t>Bestandteil</a:t>
            </a:r>
            <a:r>
              <a:rPr lang="en-US"/>
              <a:t> </a:t>
            </a:r>
            <a:r>
              <a:rPr lang="en-US" err="1"/>
              <a:t>einer</a:t>
            </a:r>
            <a:r>
              <a:rPr lang="en-US"/>
              <a:t> </a:t>
            </a:r>
            <a:r>
              <a:rPr lang="en-US" err="1"/>
              <a:t>IaC</a:t>
            </a:r>
            <a:r>
              <a:rPr lang="en-US"/>
              <a:t> </a:t>
            </a:r>
            <a:r>
              <a:rPr lang="en-US" err="1"/>
              <a:t>Gesamtstrategie</a:t>
            </a:r>
            <a:endParaRPr lang="en-US"/>
          </a:p>
        </p:txBody>
      </p:sp>
      <p:sp>
        <p:nvSpPr>
          <p:cNvPr id="88" name="Textplatzhalter 87">
            <a:extLst>
              <a:ext uri="{FF2B5EF4-FFF2-40B4-BE49-F238E27FC236}">
                <a16:creationId xmlns:a16="http://schemas.microsoft.com/office/drawing/2014/main" id="{F2B60629-DE97-A72C-FB4F-E970BF61D9F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 bwMode="gray">
          <a:xfrm>
            <a:off x="552001" y="2636800"/>
            <a:ext cx="361398" cy="576000"/>
          </a:xfrm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629AAFBD-8B64-2D67-2891-EF898F7F43D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 bwMode="gray">
          <a:xfrm>
            <a:off x="552000" y="3212800"/>
            <a:ext cx="3888000" cy="1440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B53723AE-B351-ED7E-FED1-530F06038F1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 bwMode="gray">
          <a:xfrm>
            <a:off x="984937" y="3678250"/>
            <a:ext cx="3455538" cy="432000"/>
          </a:xfrm>
        </p:spPr>
        <p:txBody>
          <a:bodyPr/>
          <a:lstStyle/>
          <a:p>
            <a:r>
              <a:rPr lang="en-US"/>
              <a:t>Wo </a:t>
            </a:r>
            <a:r>
              <a:rPr lang="en-US" err="1"/>
              <a:t>steht</a:t>
            </a:r>
            <a:r>
              <a:rPr lang="en-US"/>
              <a:t> die Beiersdorf IT </a:t>
            </a:r>
            <a:r>
              <a:rPr lang="en-US" err="1"/>
              <a:t>mit</a:t>
            </a:r>
            <a:r>
              <a:rPr lang="en-US"/>
              <a:t> Ansible?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149BF54-9D65-5B57-0991-D41079ED677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 bwMode="gray">
          <a:xfrm>
            <a:off x="552001" y="3644800"/>
            <a:ext cx="361398" cy="576000"/>
          </a:xfrm>
        </p:spPr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38402086-0D72-BED6-CCA7-7244BE26143A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gray">
          <a:xfrm>
            <a:off x="552000" y="4220800"/>
            <a:ext cx="3888000" cy="144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66AAF271-055D-52E6-10E5-618E5955A7F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 bwMode="gray">
          <a:xfrm>
            <a:off x="984937" y="4686250"/>
            <a:ext cx="3455538" cy="432000"/>
          </a:xfrm>
        </p:spPr>
        <p:txBody>
          <a:bodyPr/>
          <a:lstStyle/>
          <a:p>
            <a:r>
              <a:rPr lang="en-US" err="1"/>
              <a:t>Herausforderungen</a:t>
            </a:r>
            <a:r>
              <a:rPr lang="en-US"/>
              <a:t> </a:t>
            </a:r>
            <a:r>
              <a:rPr lang="en-US" err="1"/>
              <a:t>beim</a:t>
            </a:r>
            <a:r>
              <a:rPr lang="en-US"/>
              <a:t> </a:t>
            </a:r>
            <a:r>
              <a:rPr lang="en-US" err="1"/>
              <a:t>Einsatz</a:t>
            </a:r>
            <a:r>
              <a:rPr lang="en-US"/>
              <a:t> in IT </a:t>
            </a:r>
            <a:r>
              <a:rPr lang="en-US" err="1"/>
              <a:t>Infrastruktur</a:t>
            </a:r>
            <a:r>
              <a:rPr lang="en-US"/>
              <a:t> &amp; Operations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8B5F287-81AA-F1DD-4889-58177A4AA61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>
          <a:xfrm>
            <a:off x="552001" y="4652800"/>
            <a:ext cx="361398" cy="576000"/>
          </a:xfrm>
        </p:spPr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6F335EAE-1C44-B7E3-2995-2BE31C652A7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 bwMode="gray">
          <a:xfrm>
            <a:off x="552000" y="5228800"/>
            <a:ext cx="3888000" cy="14400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CFC2352-0EDB-87EC-E61C-7E70FE99B7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 bwMode="gray">
          <a:xfrm>
            <a:off x="984937" y="5691930"/>
            <a:ext cx="3455538" cy="432000"/>
          </a:xfrm>
        </p:spPr>
        <p:txBody>
          <a:bodyPr/>
          <a:lstStyle/>
          <a:p>
            <a:r>
              <a:rPr lang="en-US" err="1"/>
              <a:t>Lösungsansätze</a:t>
            </a:r>
            <a:endParaRPr lang="en-US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5712ADE4-EB64-D544-26F0-B4E38631CB9D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 bwMode="gray">
          <a:xfrm>
            <a:off x="552001" y="5658480"/>
            <a:ext cx="361398" cy="576000"/>
          </a:xfrm>
        </p:spPr>
        <p:txBody>
          <a:bodyPr/>
          <a:lstStyle/>
          <a:p>
            <a:r>
              <a:rPr lang="en-US"/>
              <a:t>5</a:t>
            </a:r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17140A64-42FB-5C49-38EE-1865F1D471A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 bwMode="gray">
          <a:xfrm>
            <a:off x="552000" y="6234480"/>
            <a:ext cx="3888000" cy="14400"/>
          </a:xfrm>
        </p:spPr>
        <p:txBody>
          <a:bodyPr/>
          <a:lstStyle/>
          <a:p>
            <a:endParaRPr lang="en-US"/>
          </a:p>
        </p:txBody>
      </p:sp>
      <p:sp>
        <p:nvSpPr>
          <p:cNvPr id="86" name="Titel 85">
            <a:extLst>
              <a:ext uri="{FF2B5EF4-FFF2-40B4-BE49-F238E27FC236}">
                <a16:creationId xmlns:a16="http://schemas.microsoft.com/office/drawing/2014/main" id="{696335DD-F522-70C0-78E9-2C08C464C15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240207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Himmel, Menschliches Gesicht, Person, draußen enthält.&#10;&#10;Automatisch generierte Beschreibung">
            <a:extLst>
              <a:ext uri="{FF2B5EF4-FFF2-40B4-BE49-F238E27FC236}">
                <a16:creationId xmlns:a16="http://schemas.microsoft.com/office/drawing/2014/main" id="{D646F2E3-E9FB-DA13-075F-047B6DCEC97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40" b="10068"/>
          <a:stretch/>
        </p:blipFill>
        <p:spPr bwMode="gray">
          <a:xfrm flipH="1"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B26A4100-9C34-BE89-227D-8818EFED61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4440" y="3501008"/>
            <a:ext cx="5437540" cy="1800016"/>
          </a:xfrm>
        </p:spPr>
        <p:txBody>
          <a:bodyPr/>
          <a:lstStyle/>
          <a:p>
            <a:pPr algn="r"/>
            <a:r>
              <a:rPr lang="en-US" sz="4400" noProof="0"/>
              <a:t>Ansible </a:t>
            </a:r>
            <a:r>
              <a:rPr lang="en-US" sz="4400" noProof="0" err="1"/>
              <a:t>Relevanz</a:t>
            </a:r>
            <a:br>
              <a:rPr lang="en-US" sz="4400" noProof="0"/>
            </a:br>
            <a:r>
              <a:rPr lang="en-US" sz="4400" b="0"/>
              <a:t>Mehr </a:t>
            </a:r>
            <a:r>
              <a:rPr lang="en-US" sz="4400" b="0" err="1"/>
              <a:t>als</a:t>
            </a:r>
            <a:r>
              <a:rPr lang="en-US" sz="4400" b="0"/>
              <a:t> </a:t>
            </a:r>
            <a:r>
              <a:rPr lang="en-US" sz="4400" b="0" err="1"/>
              <a:t>nur</a:t>
            </a:r>
            <a:r>
              <a:rPr lang="en-US" sz="4400" b="0"/>
              <a:t> DevOps – Ein </a:t>
            </a:r>
            <a:r>
              <a:rPr lang="en-US" sz="4400" b="0" err="1"/>
              <a:t>Werkzeug</a:t>
            </a:r>
            <a:r>
              <a:rPr lang="en-US" sz="4400" b="0"/>
              <a:t> für die </a:t>
            </a:r>
            <a:r>
              <a:rPr lang="en-US" sz="4400" b="0" err="1"/>
              <a:t>gesamte</a:t>
            </a:r>
            <a:r>
              <a:rPr lang="en-US" sz="4400" b="0"/>
              <a:t> IT</a:t>
            </a:r>
            <a:endParaRPr lang="en-US" sz="4400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CDDB9075-85B5-5F44-8985-1C087FC090E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766478" y="6455900"/>
            <a:ext cx="874800" cy="144000"/>
          </a:xfrm>
        </p:spPr>
        <p:txBody>
          <a:bodyPr/>
          <a:lstStyle/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2FB8631-A3E1-B1C5-2260-4F4331DC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5441" y="6453352"/>
            <a:ext cx="3815942" cy="144000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6. Anwendertreffen - Keynote ITO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DCCEEE1-B952-3E9B-739B-1EAA75D43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51384" y="6453352"/>
            <a:ext cx="504056" cy="144000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Page </a:t>
            </a:r>
            <a:fld id="{C0069AEE-D70F-4F66-B615-13FB9818742B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525525F-47E4-8674-614A-23E0CB689E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1290565" y="404813"/>
            <a:ext cx="354913" cy="29304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7011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96B59F4-9AF6-51AC-36E5-0847CACEDA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3663F7B-B847-C7E1-E635-C05F66A9AE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C9B42B1-B6AE-AFB3-33FF-CEC9F5060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>
                <a:latin typeface="+mj-lt"/>
              </a:rPr>
              <a:t>Mehr </a:t>
            </a:r>
            <a:r>
              <a:rPr lang="en-US" sz="2800" b="1" err="1">
                <a:latin typeface="+mj-lt"/>
              </a:rPr>
              <a:t>als</a:t>
            </a:r>
            <a:r>
              <a:rPr lang="en-US" sz="2800" b="1">
                <a:latin typeface="+mj-lt"/>
              </a:rPr>
              <a:t> </a:t>
            </a:r>
            <a:r>
              <a:rPr lang="en-US" sz="2800" b="1" err="1">
                <a:latin typeface="+mj-lt"/>
              </a:rPr>
              <a:t>nur</a:t>
            </a:r>
            <a:r>
              <a:rPr lang="en-US" sz="2800" b="1">
                <a:latin typeface="+mj-lt"/>
              </a:rPr>
              <a:t> DevOps – </a:t>
            </a:r>
            <a:br>
              <a:rPr lang="en-US" sz="2800" b="1">
                <a:latin typeface="+mj-lt"/>
              </a:rPr>
            </a:br>
            <a:r>
              <a:rPr lang="en-US" sz="2800" b="1">
                <a:latin typeface="+mj-lt"/>
              </a:rPr>
              <a:t>Ein </a:t>
            </a:r>
            <a:r>
              <a:rPr lang="en-US" sz="2800" b="1" err="1">
                <a:latin typeface="+mj-lt"/>
              </a:rPr>
              <a:t>Werkzeug</a:t>
            </a:r>
            <a:r>
              <a:rPr lang="en-US" sz="2800" b="1">
                <a:latin typeface="+mj-lt"/>
              </a:rPr>
              <a:t> für die </a:t>
            </a:r>
            <a:r>
              <a:rPr lang="en-US" sz="2800" b="1" err="1">
                <a:latin typeface="+mj-lt"/>
              </a:rPr>
              <a:t>gesamte</a:t>
            </a:r>
            <a:r>
              <a:rPr lang="en-US" sz="2800" b="1">
                <a:latin typeface="+mj-lt"/>
              </a:rPr>
              <a:t> IT</a:t>
            </a:r>
            <a:endParaRPr lang="de-DE"/>
          </a:p>
        </p:txBody>
      </p:sp>
      <p:grpSp>
        <p:nvGrpSpPr>
          <p:cNvPr id="7" name="Group 12">
            <a:extLst>
              <a:ext uri="{FF2B5EF4-FFF2-40B4-BE49-F238E27FC236}">
                <a16:creationId xmlns:a16="http://schemas.microsoft.com/office/drawing/2014/main" id="{DCFAD6CC-605E-4202-D101-993F84E28133}"/>
              </a:ext>
            </a:extLst>
          </p:cNvPr>
          <p:cNvGrpSpPr/>
          <p:nvPr/>
        </p:nvGrpSpPr>
        <p:grpSpPr>
          <a:xfrm>
            <a:off x="6298745" y="1502619"/>
            <a:ext cx="3420000" cy="990277"/>
            <a:chOff x="2551706" y="4283314"/>
            <a:chExt cx="1403938" cy="990277"/>
          </a:xfrm>
        </p:grpSpPr>
        <p:sp>
          <p:nvSpPr>
            <p:cNvPr id="8" name="TextBox 32">
              <a:extLst>
                <a:ext uri="{FF2B5EF4-FFF2-40B4-BE49-F238E27FC236}">
                  <a16:creationId xmlns:a16="http://schemas.microsoft.com/office/drawing/2014/main" id="{B9FBD7E5-0219-4644-A6D5-731225E19208}"/>
                </a:ext>
              </a:extLst>
            </p:cNvPr>
            <p:cNvSpPr txBox="1"/>
            <p:nvPr/>
          </p:nvSpPr>
          <p:spPr>
            <a:xfrm>
              <a:off x="2551706" y="4750371"/>
              <a:ext cx="140393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400">
                  <a:solidFill>
                    <a:schemeClr val="bg2"/>
                  </a:solidFill>
                  <a:ea typeface="Yu Gothic" panose="020B0400000000000000" pitchFamily="34" charset="-128"/>
                  <a:cs typeface="Segoe UI Semibold" panose="020B0702040204020203" pitchFamily="34" charset="0"/>
                </a:rPr>
                <a:t>Umfangreiche Modulbibliothek, deklarative </a:t>
              </a:r>
              <a:r>
                <a:rPr lang="de-DE" sz="1400" err="1">
                  <a:solidFill>
                    <a:schemeClr val="bg2"/>
                  </a:solidFill>
                  <a:ea typeface="Yu Gothic" panose="020B0400000000000000" pitchFamily="34" charset="-128"/>
                  <a:cs typeface="Segoe UI Semibold" panose="020B0702040204020203" pitchFamily="34" charset="0"/>
                </a:rPr>
                <a:t>Playbooks</a:t>
              </a:r>
              <a:endParaRPr lang="en-US" sz="1400">
                <a:solidFill>
                  <a:schemeClr val="bg2"/>
                </a:solidFill>
                <a:ea typeface="Yu Gothic" panose="020B0400000000000000" pitchFamily="34" charset="-128"/>
                <a:cs typeface="Segoe UI Semibold" panose="020B0702040204020203" pitchFamily="34" charset="0"/>
              </a:endParaRPr>
            </a:p>
          </p:txBody>
        </p:sp>
        <p:sp>
          <p:nvSpPr>
            <p:cNvPr id="9" name="TextBox 33">
              <a:extLst>
                <a:ext uri="{FF2B5EF4-FFF2-40B4-BE49-F238E27FC236}">
                  <a16:creationId xmlns:a16="http://schemas.microsoft.com/office/drawing/2014/main" id="{306A7972-0F5C-AA65-44A6-81BD74045D6C}"/>
                </a:ext>
              </a:extLst>
            </p:cNvPr>
            <p:cNvSpPr txBox="1"/>
            <p:nvPr/>
          </p:nvSpPr>
          <p:spPr>
            <a:xfrm>
              <a:off x="2551706" y="4283314"/>
              <a:ext cx="140393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400" b="1">
                  <a:latin typeface="+mj-lt"/>
                  <a:cs typeface="Arial" pitchFamily="34" charset="0"/>
                </a:rPr>
                <a:t>Einfache Automatisierung komplexer Aufgaben</a:t>
              </a:r>
              <a:endParaRPr lang="en-US" sz="1400" b="1"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10" name="Group 15">
            <a:extLst>
              <a:ext uri="{FF2B5EF4-FFF2-40B4-BE49-F238E27FC236}">
                <a16:creationId xmlns:a16="http://schemas.microsoft.com/office/drawing/2014/main" id="{2154B6B3-2887-FCD8-4C1D-DDD1DEE52515}"/>
              </a:ext>
            </a:extLst>
          </p:cNvPr>
          <p:cNvGrpSpPr/>
          <p:nvPr/>
        </p:nvGrpSpPr>
        <p:grpSpPr>
          <a:xfrm>
            <a:off x="7643644" y="2678634"/>
            <a:ext cx="3420000" cy="1015663"/>
            <a:chOff x="2551706" y="4283314"/>
            <a:chExt cx="1403938" cy="1015663"/>
          </a:xfrm>
        </p:grpSpPr>
        <p:sp>
          <p:nvSpPr>
            <p:cNvPr id="11" name="TextBox 35">
              <a:extLst>
                <a:ext uri="{FF2B5EF4-FFF2-40B4-BE49-F238E27FC236}">
                  <a16:creationId xmlns:a16="http://schemas.microsoft.com/office/drawing/2014/main" id="{5FF50A68-FEDD-DC45-0212-40DF64B5665A}"/>
                </a:ext>
              </a:extLst>
            </p:cNvPr>
            <p:cNvSpPr txBox="1"/>
            <p:nvPr/>
          </p:nvSpPr>
          <p:spPr>
            <a:xfrm>
              <a:off x="2551706" y="4560313"/>
              <a:ext cx="140393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400">
                  <a:solidFill>
                    <a:srgbClr val="69635F"/>
                  </a:solidFill>
                  <a:ea typeface="Yu Gothic" panose="020B0400000000000000" pitchFamily="34" charset="-128"/>
                  <a:cs typeface="Segoe UI Semibold" panose="020B0702040204020203" pitchFamily="34" charset="0"/>
                </a:rPr>
                <a:t>keine zusätzliche Softwareverwaltung, vereinfachte Wartung, keine „Performance“ Diskussion</a:t>
              </a:r>
              <a:endParaRPr lang="en-US" sz="1400">
                <a:solidFill>
                  <a:srgbClr val="69635F"/>
                </a:solidFill>
                <a:ea typeface="Yu Gothic" panose="020B0400000000000000" pitchFamily="34" charset="-128"/>
                <a:cs typeface="Segoe UI Semibold" panose="020B0702040204020203" pitchFamily="34" charset="0"/>
              </a:endParaRPr>
            </a:p>
          </p:txBody>
        </p:sp>
        <p:sp>
          <p:nvSpPr>
            <p:cNvPr id="12" name="TextBox 36">
              <a:extLst>
                <a:ext uri="{FF2B5EF4-FFF2-40B4-BE49-F238E27FC236}">
                  <a16:creationId xmlns:a16="http://schemas.microsoft.com/office/drawing/2014/main" id="{F22CD2DA-2CB8-5F7A-89EC-0302D4CBD5C9}"/>
                </a:ext>
              </a:extLst>
            </p:cNvPr>
            <p:cNvSpPr txBox="1"/>
            <p:nvPr/>
          </p:nvSpPr>
          <p:spPr>
            <a:xfrm>
              <a:off x="2551706" y="4283314"/>
              <a:ext cx="140393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de-DE" sz="1400" b="1">
                  <a:latin typeface="+mj-lt"/>
                  <a:cs typeface="Arial" pitchFamily="34" charset="0"/>
                </a:rPr>
                <a:t>Agentenlose Architektur </a:t>
              </a:r>
            </a:p>
          </p:txBody>
        </p:sp>
      </p:grpSp>
      <p:grpSp>
        <p:nvGrpSpPr>
          <p:cNvPr id="13" name="Group 18">
            <a:extLst>
              <a:ext uri="{FF2B5EF4-FFF2-40B4-BE49-F238E27FC236}">
                <a16:creationId xmlns:a16="http://schemas.microsoft.com/office/drawing/2014/main" id="{10F631E3-11C0-F9EA-C993-F48730EEACCF}"/>
              </a:ext>
            </a:extLst>
          </p:cNvPr>
          <p:cNvGrpSpPr/>
          <p:nvPr/>
        </p:nvGrpSpPr>
        <p:grpSpPr>
          <a:xfrm>
            <a:off x="7701762" y="4331916"/>
            <a:ext cx="3420000" cy="1185316"/>
            <a:chOff x="2551706" y="4283314"/>
            <a:chExt cx="1403938" cy="1185316"/>
          </a:xfrm>
        </p:grpSpPr>
        <p:sp>
          <p:nvSpPr>
            <p:cNvPr id="14" name="TextBox 38">
              <a:extLst>
                <a:ext uri="{FF2B5EF4-FFF2-40B4-BE49-F238E27FC236}">
                  <a16:creationId xmlns:a16="http://schemas.microsoft.com/office/drawing/2014/main" id="{8F7806E3-D545-09ED-39A2-329B69921B33}"/>
                </a:ext>
              </a:extLst>
            </p:cNvPr>
            <p:cNvSpPr txBox="1"/>
            <p:nvPr/>
          </p:nvSpPr>
          <p:spPr>
            <a:xfrm>
              <a:off x="2551706" y="4729966"/>
              <a:ext cx="140393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400">
                  <a:solidFill>
                    <a:srgbClr val="69635F"/>
                  </a:solidFill>
                  <a:ea typeface="Yu Gothic" panose="020B0400000000000000" pitchFamily="34" charset="-128"/>
                  <a:cs typeface="Segoe UI Semibold" panose="020B0702040204020203" pitchFamily="34" charset="0"/>
                </a:rPr>
                <a:t>zentrale Plattform, Konsistenz der Infrastruktur, Reduzierung menschlicher Fehler</a:t>
              </a:r>
            </a:p>
          </p:txBody>
        </p:sp>
        <p:sp>
          <p:nvSpPr>
            <p:cNvPr id="15" name="TextBox 39">
              <a:extLst>
                <a:ext uri="{FF2B5EF4-FFF2-40B4-BE49-F238E27FC236}">
                  <a16:creationId xmlns:a16="http://schemas.microsoft.com/office/drawing/2014/main" id="{CE9D30FC-053A-74F1-F4F8-5369156E513B}"/>
                </a:ext>
              </a:extLst>
            </p:cNvPr>
            <p:cNvSpPr txBox="1"/>
            <p:nvPr/>
          </p:nvSpPr>
          <p:spPr>
            <a:xfrm>
              <a:off x="2551706" y="4283314"/>
              <a:ext cx="140393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de-DE" sz="1400" b="1">
                  <a:latin typeface="+mj-lt"/>
                  <a:cs typeface="Arial" pitchFamily="34" charset="0"/>
                </a:rPr>
                <a:t>Effizientes Konfigurationsmanagement</a:t>
              </a:r>
              <a:endParaRPr lang="ko-KR" altLang="en-US" sz="1400" b="1"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16" name="Group 21">
            <a:extLst>
              <a:ext uri="{FF2B5EF4-FFF2-40B4-BE49-F238E27FC236}">
                <a16:creationId xmlns:a16="http://schemas.microsoft.com/office/drawing/2014/main" id="{7791EBC0-4B79-BA5C-598D-D9F1AB99D94F}"/>
              </a:ext>
            </a:extLst>
          </p:cNvPr>
          <p:cNvGrpSpPr/>
          <p:nvPr/>
        </p:nvGrpSpPr>
        <p:grpSpPr>
          <a:xfrm>
            <a:off x="1160900" y="2329946"/>
            <a:ext cx="3420000" cy="1015663"/>
            <a:chOff x="2551706" y="4283314"/>
            <a:chExt cx="1403938" cy="1015663"/>
          </a:xfrm>
        </p:grpSpPr>
        <p:sp>
          <p:nvSpPr>
            <p:cNvPr id="17" name="TextBox 41">
              <a:extLst>
                <a:ext uri="{FF2B5EF4-FFF2-40B4-BE49-F238E27FC236}">
                  <a16:creationId xmlns:a16="http://schemas.microsoft.com/office/drawing/2014/main" id="{3018707E-C0EE-01E9-4C5C-76F063857D1A}"/>
                </a:ext>
              </a:extLst>
            </p:cNvPr>
            <p:cNvSpPr txBox="1"/>
            <p:nvPr/>
          </p:nvSpPr>
          <p:spPr>
            <a:xfrm>
              <a:off x="2551706" y="4560313"/>
              <a:ext cx="140393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de-DE" sz="1400">
                  <a:solidFill>
                    <a:srgbClr val="69635F"/>
                  </a:solidFill>
                  <a:ea typeface="Yu Gothic" panose="020B0400000000000000" pitchFamily="34" charset="-128"/>
                  <a:cs typeface="Segoe UI Semibold" panose="020B0702040204020203" pitchFamily="34" charset="0"/>
                </a:rPr>
                <a:t>Integrationen in CMDBs, Monitoringsysteme und andere IT-Service-Management-Tools</a:t>
              </a:r>
            </a:p>
          </p:txBody>
        </p:sp>
        <p:sp>
          <p:nvSpPr>
            <p:cNvPr id="18" name="TextBox 42">
              <a:extLst>
                <a:ext uri="{FF2B5EF4-FFF2-40B4-BE49-F238E27FC236}">
                  <a16:creationId xmlns:a16="http://schemas.microsoft.com/office/drawing/2014/main" id="{03DAEFA7-A6D6-B063-94F2-1F02B5B47E77}"/>
                </a:ext>
              </a:extLst>
            </p:cNvPr>
            <p:cNvSpPr txBox="1"/>
            <p:nvPr/>
          </p:nvSpPr>
          <p:spPr>
            <a:xfrm>
              <a:off x="2551706" y="4283314"/>
              <a:ext cx="140393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sz="1400" b="1" err="1">
                  <a:latin typeface="+mj-lt"/>
                  <a:cs typeface="Arial" pitchFamily="34" charset="0"/>
                </a:rPr>
                <a:t>Nahtlose</a:t>
              </a:r>
              <a:r>
                <a:rPr lang="en-US" altLang="ko-KR" sz="1400" b="1">
                  <a:latin typeface="+mj-lt"/>
                  <a:cs typeface="Arial" pitchFamily="34" charset="0"/>
                </a:rPr>
                <a:t> Integration </a:t>
              </a:r>
            </a:p>
          </p:txBody>
        </p:sp>
      </p:grpSp>
      <p:grpSp>
        <p:nvGrpSpPr>
          <p:cNvPr id="19" name="Group 24">
            <a:extLst>
              <a:ext uri="{FF2B5EF4-FFF2-40B4-BE49-F238E27FC236}">
                <a16:creationId xmlns:a16="http://schemas.microsoft.com/office/drawing/2014/main" id="{67122B82-C62E-8F9C-BF4B-8FD0ACA0C3E0}"/>
              </a:ext>
            </a:extLst>
          </p:cNvPr>
          <p:cNvGrpSpPr/>
          <p:nvPr/>
        </p:nvGrpSpPr>
        <p:grpSpPr>
          <a:xfrm>
            <a:off x="852854" y="4331916"/>
            <a:ext cx="3420000" cy="1231106"/>
            <a:chOff x="2551706" y="4283314"/>
            <a:chExt cx="1403938" cy="1231106"/>
          </a:xfrm>
        </p:grpSpPr>
        <p:sp>
          <p:nvSpPr>
            <p:cNvPr id="20" name="TextBox 44">
              <a:extLst>
                <a:ext uri="{FF2B5EF4-FFF2-40B4-BE49-F238E27FC236}">
                  <a16:creationId xmlns:a16="http://schemas.microsoft.com/office/drawing/2014/main" id="{1BFC3C9C-91E8-95F9-E93B-2E0BF5EDC859}"/>
                </a:ext>
              </a:extLst>
            </p:cNvPr>
            <p:cNvSpPr txBox="1"/>
            <p:nvPr/>
          </p:nvSpPr>
          <p:spPr>
            <a:xfrm>
              <a:off x="2551706" y="4560313"/>
              <a:ext cx="1403938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de-DE" sz="1400">
                  <a:solidFill>
                    <a:srgbClr val="69635F"/>
                  </a:solidFill>
                  <a:ea typeface="Yu Gothic" panose="020B0400000000000000" pitchFamily="34" charset="-128"/>
                  <a:cs typeface="Segoe UI Semibold" panose="020B0702040204020203" pitchFamily="34" charset="0"/>
                </a:rPr>
                <a:t>zentrale Verwaltung  von Sicherheitsrichtlinien und Compliance-Standards, wiederholbare </a:t>
              </a:r>
              <a:r>
                <a:rPr lang="de-DE" sz="1400" err="1">
                  <a:solidFill>
                    <a:srgbClr val="69635F"/>
                  </a:solidFill>
                  <a:ea typeface="Yu Gothic" panose="020B0400000000000000" pitchFamily="34" charset="-128"/>
                  <a:cs typeface="Segoe UI Semibold" panose="020B0702040204020203" pitchFamily="34" charset="0"/>
                </a:rPr>
                <a:t>Playbooks</a:t>
              </a:r>
              <a:r>
                <a:rPr lang="de-DE" sz="1400">
                  <a:solidFill>
                    <a:srgbClr val="69635F"/>
                  </a:solidFill>
                  <a:ea typeface="Yu Gothic" panose="020B0400000000000000" pitchFamily="34" charset="-128"/>
                  <a:cs typeface="Segoe UI Semibold" panose="020B0702040204020203" pitchFamily="34" charset="0"/>
                </a:rPr>
                <a:t>, Umsetzung von Patch Management</a:t>
              </a:r>
              <a:endParaRPr lang="ko-KR" altLang="en-US" sz="1400">
                <a:cs typeface="Arial" pitchFamily="34" charset="0"/>
              </a:endParaRPr>
            </a:p>
          </p:txBody>
        </p:sp>
        <p:sp>
          <p:nvSpPr>
            <p:cNvPr id="21" name="TextBox 45">
              <a:extLst>
                <a:ext uri="{FF2B5EF4-FFF2-40B4-BE49-F238E27FC236}">
                  <a16:creationId xmlns:a16="http://schemas.microsoft.com/office/drawing/2014/main" id="{CEBFA9D7-A5DE-96BF-DFCE-A3D95D9B52BF}"/>
                </a:ext>
              </a:extLst>
            </p:cNvPr>
            <p:cNvSpPr txBox="1"/>
            <p:nvPr/>
          </p:nvSpPr>
          <p:spPr>
            <a:xfrm>
              <a:off x="2551706" y="4283314"/>
              <a:ext cx="140393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de-DE" sz="1400" b="1">
                  <a:latin typeface="+mj-lt"/>
                  <a:cs typeface="Arial" pitchFamily="34" charset="0"/>
                </a:rPr>
                <a:t>Sicherheit und Compliance</a:t>
              </a:r>
              <a:endParaRPr lang="ko-KR" altLang="en-US" sz="1400" b="1"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22" name="Group 27">
            <a:extLst>
              <a:ext uri="{FF2B5EF4-FFF2-40B4-BE49-F238E27FC236}">
                <a16:creationId xmlns:a16="http://schemas.microsoft.com/office/drawing/2014/main" id="{BAD1EDBE-7B14-2478-4EB6-59F11C450319}"/>
              </a:ext>
            </a:extLst>
          </p:cNvPr>
          <p:cNvGrpSpPr/>
          <p:nvPr/>
        </p:nvGrpSpPr>
        <p:grpSpPr>
          <a:xfrm>
            <a:off x="3908168" y="5654278"/>
            <a:ext cx="3420000" cy="1231106"/>
            <a:chOff x="2551706" y="4283314"/>
            <a:chExt cx="1403938" cy="1231106"/>
          </a:xfrm>
        </p:grpSpPr>
        <p:sp>
          <p:nvSpPr>
            <p:cNvPr id="23" name="TextBox 47">
              <a:extLst>
                <a:ext uri="{FF2B5EF4-FFF2-40B4-BE49-F238E27FC236}">
                  <a16:creationId xmlns:a16="http://schemas.microsoft.com/office/drawing/2014/main" id="{CC783EF0-3BBE-BB3D-6FB8-64C1D1B10BA0}"/>
                </a:ext>
              </a:extLst>
            </p:cNvPr>
            <p:cNvSpPr txBox="1"/>
            <p:nvPr/>
          </p:nvSpPr>
          <p:spPr>
            <a:xfrm>
              <a:off x="2551706" y="4560313"/>
              <a:ext cx="1403938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de-DE" sz="1400">
                  <a:solidFill>
                    <a:srgbClr val="69635F"/>
                  </a:solidFill>
                  <a:ea typeface="Yu Gothic" panose="020B0400000000000000" pitchFamily="34" charset="-128"/>
                  <a:cs typeface="Segoe UI Semibold" panose="020B0702040204020203" pitchFamily="34" charset="0"/>
                </a:rPr>
                <a:t>Umfassendes Management von Bereichen wie Netzwerkgeräten, Patchen von Betriebssystemen oder das Ausrollen von Anwendungen</a:t>
              </a:r>
            </a:p>
          </p:txBody>
        </p:sp>
        <p:sp>
          <p:nvSpPr>
            <p:cNvPr id="24" name="TextBox 48">
              <a:extLst>
                <a:ext uri="{FF2B5EF4-FFF2-40B4-BE49-F238E27FC236}">
                  <a16:creationId xmlns:a16="http://schemas.microsoft.com/office/drawing/2014/main" id="{60DDA7C7-A6A4-D03F-8CE8-07EE2F7E2BF0}"/>
                </a:ext>
              </a:extLst>
            </p:cNvPr>
            <p:cNvSpPr txBox="1"/>
            <p:nvPr/>
          </p:nvSpPr>
          <p:spPr>
            <a:xfrm>
              <a:off x="2551706" y="4283314"/>
              <a:ext cx="140393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de-DE" sz="1400" b="1">
                  <a:latin typeface="+mj-lt"/>
                  <a:cs typeface="Arial" pitchFamily="34" charset="0"/>
                </a:rPr>
                <a:t>Flexibilität und Erweiterbarkeit</a:t>
              </a:r>
            </a:p>
          </p:txBody>
        </p:sp>
      </p:grpSp>
      <p:grpSp>
        <p:nvGrpSpPr>
          <p:cNvPr id="25" name="그룹 49">
            <a:extLst>
              <a:ext uri="{FF2B5EF4-FFF2-40B4-BE49-F238E27FC236}">
                <a16:creationId xmlns:a16="http://schemas.microsoft.com/office/drawing/2014/main" id="{C562C673-AF3A-14BD-C9CA-BFD30D796653}"/>
              </a:ext>
            </a:extLst>
          </p:cNvPr>
          <p:cNvGrpSpPr/>
          <p:nvPr/>
        </p:nvGrpSpPr>
        <p:grpSpPr>
          <a:xfrm>
            <a:off x="4607267" y="2304040"/>
            <a:ext cx="2977467" cy="3310535"/>
            <a:chOff x="4733387" y="2304040"/>
            <a:chExt cx="2734502" cy="3040391"/>
          </a:xfrm>
        </p:grpSpPr>
        <p:sp>
          <p:nvSpPr>
            <p:cNvPr id="26" name="Oval 30">
              <a:extLst>
                <a:ext uri="{FF2B5EF4-FFF2-40B4-BE49-F238E27FC236}">
                  <a16:creationId xmlns:a16="http://schemas.microsoft.com/office/drawing/2014/main" id="{AAE202DF-E5DB-03DB-B431-7D52B6083A05}"/>
                </a:ext>
              </a:extLst>
            </p:cNvPr>
            <p:cNvSpPr/>
            <p:nvPr/>
          </p:nvSpPr>
          <p:spPr>
            <a:xfrm>
              <a:off x="4733387" y="2443864"/>
              <a:ext cx="2734502" cy="2734502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27" name="Oval 31">
              <a:extLst>
                <a:ext uri="{FF2B5EF4-FFF2-40B4-BE49-F238E27FC236}">
                  <a16:creationId xmlns:a16="http://schemas.microsoft.com/office/drawing/2014/main" id="{B0F62DA4-EE82-4179-599D-6A06E0B7D22B}"/>
                </a:ext>
              </a:extLst>
            </p:cNvPr>
            <p:cNvSpPr/>
            <p:nvPr/>
          </p:nvSpPr>
          <p:spPr>
            <a:xfrm>
              <a:off x="5948939" y="2304040"/>
              <a:ext cx="279648" cy="279648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28" name="Oval 32">
              <a:extLst>
                <a:ext uri="{FF2B5EF4-FFF2-40B4-BE49-F238E27FC236}">
                  <a16:creationId xmlns:a16="http://schemas.microsoft.com/office/drawing/2014/main" id="{D6973ABA-AA7B-E374-476B-39AE3886A52B}"/>
                </a:ext>
              </a:extLst>
            </p:cNvPr>
            <p:cNvSpPr/>
            <p:nvPr/>
          </p:nvSpPr>
          <p:spPr>
            <a:xfrm>
              <a:off x="5966487" y="5064783"/>
              <a:ext cx="279648" cy="279648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29" name="Oval 33">
              <a:extLst>
                <a:ext uri="{FF2B5EF4-FFF2-40B4-BE49-F238E27FC236}">
                  <a16:creationId xmlns:a16="http://schemas.microsoft.com/office/drawing/2014/main" id="{0CF8727F-42E8-C288-07BE-5F55D82597FB}"/>
                </a:ext>
              </a:extLst>
            </p:cNvPr>
            <p:cNvSpPr/>
            <p:nvPr/>
          </p:nvSpPr>
          <p:spPr>
            <a:xfrm>
              <a:off x="7092436" y="4450608"/>
              <a:ext cx="279648" cy="279648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30" name="Oval 34">
              <a:extLst>
                <a:ext uri="{FF2B5EF4-FFF2-40B4-BE49-F238E27FC236}">
                  <a16:creationId xmlns:a16="http://schemas.microsoft.com/office/drawing/2014/main" id="{5A799353-F8C1-FE53-76EA-7FBFC8FD60B9}"/>
                </a:ext>
              </a:extLst>
            </p:cNvPr>
            <p:cNvSpPr/>
            <p:nvPr/>
          </p:nvSpPr>
          <p:spPr>
            <a:xfrm>
              <a:off x="7092436" y="2936819"/>
              <a:ext cx="279648" cy="279648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31" name="Oval 35">
              <a:extLst>
                <a:ext uri="{FF2B5EF4-FFF2-40B4-BE49-F238E27FC236}">
                  <a16:creationId xmlns:a16="http://schemas.microsoft.com/office/drawing/2014/main" id="{CAF49E8B-0CAC-D204-ABB0-B629337D2864}"/>
                </a:ext>
              </a:extLst>
            </p:cNvPr>
            <p:cNvSpPr/>
            <p:nvPr/>
          </p:nvSpPr>
          <p:spPr>
            <a:xfrm>
              <a:off x="4799856" y="4450608"/>
              <a:ext cx="279648" cy="279648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32" name="Oval 36">
              <a:extLst>
                <a:ext uri="{FF2B5EF4-FFF2-40B4-BE49-F238E27FC236}">
                  <a16:creationId xmlns:a16="http://schemas.microsoft.com/office/drawing/2014/main" id="{BBD31996-1F4B-10DA-61B6-D8A09028C338}"/>
                </a:ext>
              </a:extLst>
            </p:cNvPr>
            <p:cNvSpPr/>
            <p:nvPr/>
          </p:nvSpPr>
          <p:spPr>
            <a:xfrm>
              <a:off x="4799856" y="2936819"/>
              <a:ext cx="279648" cy="279648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33" name="그룹 63">
            <a:extLst>
              <a:ext uri="{FF2B5EF4-FFF2-40B4-BE49-F238E27FC236}">
                <a16:creationId xmlns:a16="http://schemas.microsoft.com/office/drawing/2014/main" id="{6660FB05-E4F1-BA79-6B75-D14C8B43218C}"/>
              </a:ext>
            </a:extLst>
          </p:cNvPr>
          <p:cNvGrpSpPr/>
          <p:nvPr/>
        </p:nvGrpSpPr>
        <p:grpSpPr>
          <a:xfrm rot="592498">
            <a:off x="5261617" y="3144365"/>
            <a:ext cx="1668767" cy="1629885"/>
            <a:chOff x="96838" y="117476"/>
            <a:chExt cx="817562" cy="798513"/>
          </a:xfrm>
        </p:grpSpPr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C5D59B5F-24D1-B497-E111-3467A2BD8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300" y="257176"/>
              <a:ext cx="673100" cy="658813"/>
            </a:xfrm>
            <a:custGeom>
              <a:avLst/>
              <a:gdLst>
                <a:gd name="T0" fmla="*/ 768 w 887"/>
                <a:gd name="T1" fmla="*/ 12 h 868"/>
                <a:gd name="T2" fmla="*/ 856 w 887"/>
                <a:gd name="T3" fmla="*/ 166 h 868"/>
                <a:gd name="T4" fmla="*/ 887 w 887"/>
                <a:gd name="T5" fmla="*/ 341 h 868"/>
                <a:gd name="T6" fmla="*/ 846 w 887"/>
                <a:gd name="T7" fmla="*/ 542 h 868"/>
                <a:gd name="T8" fmla="*/ 729 w 887"/>
                <a:gd name="T9" fmla="*/ 713 h 868"/>
                <a:gd name="T10" fmla="*/ 553 w 887"/>
                <a:gd name="T11" fmla="*/ 827 h 868"/>
                <a:gd name="T12" fmla="*/ 348 w 887"/>
                <a:gd name="T13" fmla="*/ 868 h 868"/>
                <a:gd name="T14" fmla="*/ 171 w 887"/>
                <a:gd name="T15" fmla="*/ 837 h 868"/>
                <a:gd name="T16" fmla="*/ 13 w 887"/>
                <a:gd name="T17" fmla="*/ 751 h 868"/>
                <a:gd name="T18" fmla="*/ 0 w 887"/>
                <a:gd name="T19" fmla="*/ 743 h 868"/>
                <a:gd name="T20" fmla="*/ 13 w 887"/>
                <a:gd name="T21" fmla="*/ 734 h 868"/>
                <a:gd name="T22" fmla="*/ 33 w 887"/>
                <a:gd name="T23" fmla="*/ 721 h 868"/>
                <a:gd name="T24" fmla="*/ 39 w 887"/>
                <a:gd name="T25" fmla="*/ 716 h 868"/>
                <a:gd name="T26" fmla="*/ 46 w 887"/>
                <a:gd name="T27" fmla="*/ 721 h 868"/>
                <a:gd name="T28" fmla="*/ 189 w 887"/>
                <a:gd name="T29" fmla="*/ 798 h 868"/>
                <a:gd name="T30" fmla="*/ 348 w 887"/>
                <a:gd name="T31" fmla="*/ 822 h 868"/>
                <a:gd name="T32" fmla="*/ 537 w 887"/>
                <a:gd name="T33" fmla="*/ 786 h 868"/>
                <a:gd name="T34" fmla="*/ 697 w 887"/>
                <a:gd name="T35" fmla="*/ 682 h 868"/>
                <a:gd name="T36" fmla="*/ 804 w 887"/>
                <a:gd name="T37" fmla="*/ 526 h 868"/>
                <a:gd name="T38" fmla="*/ 841 w 887"/>
                <a:gd name="T39" fmla="*/ 341 h 868"/>
                <a:gd name="T40" fmla="*/ 815 w 887"/>
                <a:gd name="T41" fmla="*/ 184 h 868"/>
                <a:gd name="T42" fmla="*/ 737 w 887"/>
                <a:gd name="T43" fmla="*/ 44 h 868"/>
                <a:gd name="T44" fmla="*/ 732 w 887"/>
                <a:gd name="T45" fmla="*/ 38 h 868"/>
                <a:gd name="T46" fmla="*/ 737 w 887"/>
                <a:gd name="T47" fmla="*/ 31 h 868"/>
                <a:gd name="T48" fmla="*/ 750 w 887"/>
                <a:gd name="T49" fmla="*/ 12 h 868"/>
                <a:gd name="T50" fmla="*/ 758 w 887"/>
                <a:gd name="T51" fmla="*/ 0 h 868"/>
                <a:gd name="T52" fmla="*/ 768 w 887"/>
                <a:gd name="T53" fmla="*/ 12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87" h="868">
                  <a:moveTo>
                    <a:pt x="768" y="12"/>
                  </a:moveTo>
                  <a:cubicBezTo>
                    <a:pt x="806" y="57"/>
                    <a:pt x="835" y="109"/>
                    <a:pt x="856" y="166"/>
                  </a:cubicBezTo>
                  <a:cubicBezTo>
                    <a:pt x="876" y="222"/>
                    <a:pt x="887" y="280"/>
                    <a:pt x="887" y="341"/>
                  </a:cubicBezTo>
                  <a:cubicBezTo>
                    <a:pt x="887" y="412"/>
                    <a:pt x="872" y="480"/>
                    <a:pt x="846" y="542"/>
                  </a:cubicBezTo>
                  <a:cubicBezTo>
                    <a:pt x="819" y="606"/>
                    <a:pt x="778" y="664"/>
                    <a:pt x="729" y="713"/>
                  </a:cubicBezTo>
                  <a:cubicBezTo>
                    <a:pt x="680" y="762"/>
                    <a:pt x="620" y="801"/>
                    <a:pt x="553" y="827"/>
                  </a:cubicBezTo>
                  <a:cubicBezTo>
                    <a:pt x="490" y="853"/>
                    <a:pt x="422" y="868"/>
                    <a:pt x="348" y="868"/>
                  </a:cubicBezTo>
                  <a:cubicBezTo>
                    <a:pt x="286" y="868"/>
                    <a:pt x="226" y="856"/>
                    <a:pt x="171" y="837"/>
                  </a:cubicBezTo>
                  <a:cubicBezTo>
                    <a:pt x="112" y="817"/>
                    <a:pt x="59" y="788"/>
                    <a:pt x="13" y="751"/>
                  </a:cubicBezTo>
                  <a:lnTo>
                    <a:pt x="0" y="743"/>
                  </a:lnTo>
                  <a:lnTo>
                    <a:pt x="13" y="734"/>
                  </a:lnTo>
                  <a:lnTo>
                    <a:pt x="33" y="721"/>
                  </a:lnTo>
                  <a:lnTo>
                    <a:pt x="39" y="716"/>
                  </a:lnTo>
                  <a:lnTo>
                    <a:pt x="46" y="721"/>
                  </a:lnTo>
                  <a:cubicBezTo>
                    <a:pt x="88" y="754"/>
                    <a:pt x="137" y="780"/>
                    <a:pt x="189" y="798"/>
                  </a:cubicBezTo>
                  <a:cubicBezTo>
                    <a:pt x="238" y="814"/>
                    <a:pt x="293" y="822"/>
                    <a:pt x="348" y="822"/>
                  </a:cubicBezTo>
                  <a:cubicBezTo>
                    <a:pt x="415" y="822"/>
                    <a:pt x="478" y="811"/>
                    <a:pt x="537" y="786"/>
                  </a:cubicBezTo>
                  <a:cubicBezTo>
                    <a:pt x="597" y="762"/>
                    <a:pt x="651" y="726"/>
                    <a:pt x="697" y="682"/>
                  </a:cubicBezTo>
                  <a:cubicBezTo>
                    <a:pt x="742" y="637"/>
                    <a:pt x="780" y="585"/>
                    <a:pt x="804" y="526"/>
                  </a:cubicBezTo>
                  <a:cubicBezTo>
                    <a:pt x="828" y="469"/>
                    <a:pt x="841" y="406"/>
                    <a:pt x="841" y="341"/>
                  </a:cubicBezTo>
                  <a:cubicBezTo>
                    <a:pt x="841" y="285"/>
                    <a:pt x="832" y="233"/>
                    <a:pt x="815" y="184"/>
                  </a:cubicBezTo>
                  <a:cubicBezTo>
                    <a:pt x="797" y="132"/>
                    <a:pt x="771" y="87"/>
                    <a:pt x="737" y="44"/>
                  </a:cubicBezTo>
                  <a:lnTo>
                    <a:pt x="732" y="38"/>
                  </a:lnTo>
                  <a:lnTo>
                    <a:pt x="737" y="31"/>
                  </a:lnTo>
                  <a:lnTo>
                    <a:pt x="750" y="12"/>
                  </a:lnTo>
                  <a:lnTo>
                    <a:pt x="758" y="0"/>
                  </a:lnTo>
                  <a:lnTo>
                    <a:pt x="768" y="1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000"/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135B4696-BD96-F94A-5E2A-30B9C6EE331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38" y="117476"/>
              <a:ext cx="673100" cy="657225"/>
            </a:xfrm>
            <a:custGeom>
              <a:avLst/>
              <a:gdLst>
                <a:gd name="T0" fmla="*/ 538 w 887"/>
                <a:gd name="T1" fmla="*/ 0 h 866"/>
                <a:gd name="T2" fmla="*/ 717 w 887"/>
                <a:gd name="T3" fmla="*/ 29 h 866"/>
                <a:gd name="T4" fmla="*/ 875 w 887"/>
                <a:gd name="T5" fmla="*/ 114 h 866"/>
                <a:gd name="T6" fmla="*/ 887 w 887"/>
                <a:gd name="T7" fmla="*/ 124 h 866"/>
                <a:gd name="T8" fmla="*/ 874 w 887"/>
                <a:gd name="T9" fmla="*/ 133 h 866"/>
                <a:gd name="T10" fmla="*/ 854 w 887"/>
                <a:gd name="T11" fmla="*/ 146 h 866"/>
                <a:gd name="T12" fmla="*/ 847 w 887"/>
                <a:gd name="T13" fmla="*/ 150 h 866"/>
                <a:gd name="T14" fmla="*/ 841 w 887"/>
                <a:gd name="T15" fmla="*/ 145 h 866"/>
                <a:gd name="T16" fmla="*/ 699 w 887"/>
                <a:gd name="T17" fmla="*/ 70 h 866"/>
                <a:gd name="T18" fmla="*/ 538 w 887"/>
                <a:gd name="T19" fmla="*/ 44 h 866"/>
                <a:gd name="T20" fmla="*/ 351 w 887"/>
                <a:gd name="T21" fmla="*/ 80 h 866"/>
                <a:gd name="T22" fmla="*/ 190 w 887"/>
                <a:gd name="T23" fmla="*/ 184 h 866"/>
                <a:gd name="T24" fmla="*/ 83 w 887"/>
                <a:gd name="T25" fmla="*/ 342 h 866"/>
                <a:gd name="T26" fmla="*/ 45 w 887"/>
                <a:gd name="T27" fmla="*/ 526 h 866"/>
                <a:gd name="T28" fmla="*/ 71 w 887"/>
                <a:gd name="T29" fmla="*/ 682 h 866"/>
                <a:gd name="T30" fmla="*/ 149 w 887"/>
                <a:gd name="T31" fmla="*/ 822 h 866"/>
                <a:gd name="T32" fmla="*/ 154 w 887"/>
                <a:gd name="T33" fmla="*/ 828 h 866"/>
                <a:gd name="T34" fmla="*/ 149 w 887"/>
                <a:gd name="T35" fmla="*/ 835 h 866"/>
                <a:gd name="T36" fmla="*/ 136 w 887"/>
                <a:gd name="T37" fmla="*/ 854 h 866"/>
                <a:gd name="T38" fmla="*/ 128 w 887"/>
                <a:gd name="T39" fmla="*/ 866 h 866"/>
                <a:gd name="T40" fmla="*/ 118 w 887"/>
                <a:gd name="T41" fmla="*/ 856 h 866"/>
                <a:gd name="T42" fmla="*/ 31 w 887"/>
                <a:gd name="T43" fmla="*/ 700 h 866"/>
                <a:gd name="T44" fmla="*/ 0 w 887"/>
                <a:gd name="T45" fmla="*/ 526 h 866"/>
                <a:gd name="T46" fmla="*/ 42 w 887"/>
                <a:gd name="T47" fmla="*/ 324 h 866"/>
                <a:gd name="T48" fmla="*/ 157 w 887"/>
                <a:gd name="T49" fmla="*/ 154 h 866"/>
                <a:gd name="T50" fmla="*/ 333 w 887"/>
                <a:gd name="T51" fmla="*/ 39 h 866"/>
                <a:gd name="T52" fmla="*/ 538 w 887"/>
                <a:gd name="T53" fmla="*/ 0 h 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87" h="866">
                  <a:moveTo>
                    <a:pt x="538" y="0"/>
                  </a:moveTo>
                  <a:cubicBezTo>
                    <a:pt x="600" y="0"/>
                    <a:pt x="660" y="10"/>
                    <a:pt x="717" y="29"/>
                  </a:cubicBezTo>
                  <a:cubicBezTo>
                    <a:pt x="774" y="49"/>
                    <a:pt x="828" y="78"/>
                    <a:pt x="875" y="114"/>
                  </a:cubicBezTo>
                  <a:lnTo>
                    <a:pt x="887" y="124"/>
                  </a:lnTo>
                  <a:lnTo>
                    <a:pt x="874" y="133"/>
                  </a:lnTo>
                  <a:lnTo>
                    <a:pt x="854" y="146"/>
                  </a:lnTo>
                  <a:lnTo>
                    <a:pt x="847" y="150"/>
                  </a:lnTo>
                  <a:lnTo>
                    <a:pt x="841" y="145"/>
                  </a:lnTo>
                  <a:cubicBezTo>
                    <a:pt x="799" y="112"/>
                    <a:pt x="750" y="88"/>
                    <a:pt x="699" y="70"/>
                  </a:cubicBezTo>
                  <a:cubicBezTo>
                    <a:pt x="649" y="52"/>
                    <a:pt x="594" y="44"/>
                    <a:pt x="538" y="44"/>
                  </a:cubicBezTo>
                  <a:cubicBezTo>
                    <a:pt x="472" y="44"/>
                    <a:pt x="408" y="57"/>
                    <a:pt x="351" y="80"/>
                  </a:cubicBezTo>
                  <a:cubicBezTo>
                    <a:pt x="289" y="104"/>
                    <a:pt x="236" y="140"/>
                    <a:pt x="190" y="184"/>
                  </a:cubicBezTo>
                  <a:cubicBezTo>
                    <a:pt x="144" y="229"/>
                    <a:pt x="109" y="283"/>
                    <a:pt x="83" y="342"/>
                  </a:cubicBezTo>
                  <a:cubicBezTo>
                    <a:pt x="58" y="399"/>
                    <a:pt x="45" y="460"/>
                    <a:pt x="45" y="526"/>
                  </a:cubicBezTo>
                  <a:cubicBezTo>
                    <a:pt x="45" y="581"/>
                    <a:pt x="55" y="633"/>
                    <a:pt x="71" y="682"/>
                  </a:cubicBezTo>
                  <a:cubicBezTo>
                    <a:pt x="89" y="734"/>
                    <a:pt x="117" y="781"/>
                    <a:pt x="149" y="822"/>
                  </a:cubicBezTo>
                  <a:lnTo>
                    <a:pt x="154" y="828"/>
                  </a:lnTo>
                  <a:lnTo>
                    <a:pt x="149" y="835"/>
                  </a:lnTo>
                  <a:lnTo>
                    <a:pt x="136" y="854"/>
                  </a:lnTo>
                  <a:lnTo>
                    <a:pt x="128" y="866"/>
                  </a:lnTo>
                  <a:lnTo>
                    <a:pt x="118" y="856"/>
                  </a:lnTo>
                  <a:cubicBezTo>
                    <a:pt x="81" y="809"/>
                    <a:pt x="52" y="757"/>
                    <a:pt x="31" y="700"/>
                  </a:cubicBezTo>
                  <a:cubicBezTo>
                    <a:pt x="11" y="646"/>
                    <a:pt x="0" y="586"/>
                    <a:pt x="0" y="526"/>
                  </a:cubicBezTo>
                  <a:cubicBezTo>
                    <a:pt x="0" y="454"/>
                    <a:pt x="16" y="386"/>
                    <a:pt x="42" y="324"/>
                  </a:cubicBezTo>
                  <a:cubicBezTo>
                    <a:pt x="68" y="260"/>
                    <a:pt x="109" y="202"/>
                    <a:pt x="157" y="154"/>
                  </a:cubicBezTo>
                  <a:cubicBezTo>
                    <a:pt x="208" y="104"/>
                    <a:pt x="267" y="67"/>
                    <a:pt x="333" y="39"/>
                  </a:cubicBezTo>
                  <a:cubicBezTo>
                    <a:pt x="397" y="13"/>
                    <a:pt x="465" y="0"/>
                    <a:pt x="538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000"/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id="{0AFAE361-0648-E0F2-F93B-A1B66D7011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3" y="185738"/>
              <a:ext cx="671513" cy="660400"/>
            </a:xfrm>
            <a:custGeom>
              <a:avLst/>
              <a:gdLst>
                <a:gd name="T0" fmla="*/ 886 w 886"/>
                <a:gd name="T1" fmla="*/ 0 h 869"/>
                <a:gd name="T2" fmla="*/ 492 w 886"/>
                <a:gd name="T3" fmla="*/ 258 h 869"/>
                <a:gd name="T4" fmla="*/ 437 w 886"/>
                <a:gd name="T5" fmla="*/ 250 h 869"/>
                <a:gd name="T6" fmla="*/ 251 w 886"/>
                <a:gd name="T7" fmla="*/ 433 h 869"/>
                <a:gd name="T8" fmla="*/ 259 w 886"/>
                <a:gd name="T9" fmla="*/ 488 h 869"/>
                <a:gd name="T10" fmla="*/ 0 w 886"/>
                <a:gd name="T11" fmla="*/ 869 h 869"/>
                <a:gd name="T12" fmla="*/ 391 w 886"/>
                <a:gd name="T13" fmla="*/ 613 h 869"/>
                <a:gd name="T14" fmla="*/ 437 w 886"/>
                <a:gd name="T15" fmla="*/ 619 h 869"/>
                <a:gd name="T16" fmla="*/ 626 w 886"/>
                <a:gd name="T17" fmla="*/ 433 h 869"/>
                <a:gd name="T18" fmla="*/ 621 w 886"/>
                <a:gd name="T19" fmla="*/ 392 h 869"/>
                <a:gd name="T20" fmla="*/ 886 w 886"/>
                <a:gd name="T21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86" h="869">
                  <a:moveTo>
                    <a:pt x="886" y="0"/>
                  </a:moveTo>
                  <a:lnTo>
                    <a:pt x="492" y="258"/>
                  </a:lnTo>
                  <a:cubicBezTo>
                    <a:pt x="475" y="253"/>
                    <a:pt x="456" y="250"/>
                    <a:pt x="437" y="250"/>
                  </a:cubicBezTo>
                  <a:cubicBezTo>
                    <a:pt x="333" y="250"/>
                    <a:pt x="251" y="332"/>
                    <a:pt x="251" y="433"/>
                  </a:cubicBezTo>
                  <a:cubicBezTo>
                    <a:pt x="251" y="452"/>
                    <a:pt x="254" y="471"/>
                    <a:pt x="259" y="488"/>
                  </a:cubicBezTo>
                  <a:lnTo>
                    <a:pt x="0" y="869"/>
                  </a:lnTo>
                  <a:lnTo>
                    <a:pt x="391" y="613"/>
                  </a:lnTo>
                  <a:cubicBezTo>
                    <a:pt x="405" y="617"/>
                    <a:pt x="421" y="619"/>
                    <a:pt x="437" y="619"/>
                  </a:cubicBezTo>
                  <a:cubicBezTo>
                    <a:pt x="541" y="619"/>
                    <a:pt x="626" y="537"/>
                    <a:pt x="626" y="433"/>
                  </a:cubicBezTo>
                  <a:cubicBezTo>
                    <a:pt x="626" y="419"/>
                    <a:pt x="624" y="405"/>
                    <a:pt x="621" y="392"/>
                  </a:cubicBezTo>
                  <a:lnTo>
                    <a:pt x="8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000"/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5FA127CD-522F-2F35-A3C2-5F5AC0F94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38" y="425451"/>
              <a:ext cx="176213" cy="174625"/>
            </a:xfrm>
            <a:custGeom>
              <a:avLst/>
              <a:gdLst>
                <a:gd name="T0" fmla="*/ 233 w 233"/>
                <a:gd name="T1" fmla="*/ 114 h 230"/>
                <a:gd name="T2" fmla="*/ 116 w 233"/>
                <a:gd name="T3" fmla="*/ 230 h 230"/>
                <a:gd name="T4" fmla="*/ 0 w 233"/>
                <a:gd name="T5" fmla="*/ 114 h 230"/>
                <a:gd name="T6" fmla="*/ 116 w 233"/>
                <a:gd name="T7" fmla="*/ 0 h 230"/>
                <a:gd name="T8" fmla="*/ 233 w 233"/>
                <a:gd name="T9" fmla="*/ 11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230">
                  <a:moveTo>
                    <a:pt x="233" y="114"/>
                  </a:moveTo>
                  <a:cubicBezTo>
                    <a:pt x="233" y="179"/>
                    <a:pt x="180" y="230"/>
                    <a:pt x="116" y="230"/>
                  </a:cubicBezTo>
                  <a:cubicBezTo>
                    <a:pt x="51" y="230"/>
                    <a:pt x="0" y="179"/>
                    <a:pt x="0" y="114"/>
                  </a:cubicBezTo>
                  <a:cubicBezTo>
                    <a:pt x="0" y="51"/>
                    <a:pt x="51" y="0"/>
                    <a:pt x="116" y="0"/>
                  </a:cubicBezTo>
                  <a:cubicBezTo>
                    <a:pt x="180" y="0"/>
                    <a:pt x="233" y="51"/>
                    <a:pt x="233" y="1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000"/>
            </a:p>
          </p:txBody>
        </p:sp>
        <p:sp>
          <p:nvSpPr>
            <p:cNvPr id="38" name="Oval 14">
              <a:extLst>
                <a:ext uri="{FF2B5EF4-FFF2-40B4-BE49-F238E27FC236}">
                  <a16:creationId xmlns:a16="http://schemas.microsoft.com/office/drawing/2014/main" id="{BFD24BB7-7B43-58E1-342D-688187F40C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913" y="454026"/>
              <a:ext cx="119063" cy="117475"/>
            </a:xfrm>
            <a:prstGeom prst="ellipse">
              <a:avLst/>
            </a:prstGeom>
            <a:solidFill>
              <a:srgbClr val="67CD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000"/>
            </a:p>
          </p:txBody>
        </p:sp>
        <p:sp>
          <p:nvSpPr>
            <p:cNvPr id="39" name="Oval 15">
              <a:extLst>
                <a:ext uri="{FF2B5EF4-FFF2-40B4-BE49-F238E27FC236}">
                  <a16:creationId xmlns:a16="http://schemas.microsoft.com/office/drawing/2014/main" id="{24B7C9F0-6D70-7F67-668F-917BC22D23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913" y="454026"/>
              <a:ext cx="119063" cy="1174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ko-KR" altLang="en-US" sz="2000"/>
            </a:p>
          </p:txBody>
        </p:sp>
      </p:grpSp>
    </p:spTree>
    <p:extLst>
      <p:ext uri="{BB962C8B-B14F-4D97-AF65-F5344CB8AC3E}">
        <p14:creationId xmlns:p14="http://schemas.microsoft.com/office/powerpoint/2010/main" val="16006484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96A0AAF-28AE-D51A-9352-26B07FD43D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0C5E430-6DB2-FB8E-4586-1EEC0A7289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6" name="Grafik 5" descr="Ein Bild, das Person, Menschliches Gesicht, draußen, Lächeln enthält.&#10;&#10;Automatisch generierte Beschreibung">
            <a:extLst>
              <a:ext uri="{FF2B5EF4-FFF2-40B4-BE49-F238E27FC236}">
                <a16:creationId xmlns:a16="http://schemas.microsoft.com/office/drawing/2014/main" id="{971EE2DB-165A-FEB2-6614-3BE648AC653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50"/>
          <a:stretch/>
        </p:blipFill>
        <p:spPr bwMode="gray">
          <a:xfrm flipH="1">
            <a:off x="0" y="-9789"/>
            <a:ext cx="12192000" cy="6867789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135D85CB-D038-05A0-724C-3DC384BFEFFE}"/>
              </a:ext>
            </a:extLst>
          </p:cNvPr>
          <p:cNvSpPr txBox="1">
            <a:spLocks/>
          </p:cNvSpPr>
          <p:nvPr/>
        </p:nvSpPr>
        <p:spPr>
          <a:xfrm>
            <a:off x="1763097" y="4392688"/>
            <a:ext cx="10405611" cy="18000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tx1"/>
                </a:solidFill>
                <a:latin typeface="+mj-lt"/>
                <a:ea typeface="+mj-ea"/>
                <a:cs typeface="Segoe UI Light" panose="020B0502040204020203" pitchFamily="34" charset="0"/>
              </a:defRPr>
            </a:lvl1pPr>
          </a:lstStyle>
          <a:p>
            <a:pPr algn="r"/>
            <a:r>
              <a:rPr lang="en-US" sz="4400">
                <a:solidFill>
                  <a:schemeClr val="bg1"/>
                </a:solidFill>
              </a:rPr>
              <a:t>Ansible &amp; </a:t>
            </a:r>
            <a:r>
              <a:rPr lang="en-US" sz="4400" err="1">
                <a:solidFill>
                  <a:schemeClr val="bg1"/>
                </a:solidFill>
              </a:rPr>
              <a:t>Strategie</a:t>
            </a:r>
            <a:br>
              <a:rPr lang="en-US" sz="4400">
                <a:solidFill>
                  <a:schemeClr val="bg1"/>
                </a:solidFill>
              </a:rPr>
            </a:br>
            <a:r>
              <a:rPr lang="en-US" sz="4400" b="0">
                <a:solidFill>
                  <a:schemeClr val="bg1"/>
                </a:solidFill>
              </a:rPr>
              <a:t>Ansible </a:t>
            </a:r>
            <a:r>
              <a:rPr lang="en-US" sz="4400" b="0" err="1">
                <a:solidFill>
                  <a:schemeClr val="bg1"/>
                </a:solidFill>
              </a:rPr>
              <a:t>als</a:t>
            </a:r>
            <a:r>
              <a:rPr lang="en-US" sz="4400" b="0">
                <a:solidFill>
                  <a:schemeClr val="bg1"/>
                </a:solidFill>
              </a:rPr>
              <a:t> </a:t>
            </a:r>
            <a:r>
              <a:rPr lang="en-US" sz="4400" b="0" err="1">
                <a:solidFill>
                  <a:schemeClr val="bg1"/>
                </a:solidFill>
              </a:rPr>
              <a:t>Bestandteil</a:t>
            </a:r>
            <a:r>
              <a:rPr lang="en-US" sz="4400" b="0">
                <a:solidFill>
                  <a:schemeClr val="bg1"/>
                </a:solidFill>
              </a:rPr>
              <a:t> </a:t>
            </a:r>
            <a:br>
              <a:rPr lang="en-US" sz="4400" b="0">
                <a:solidFill>
                  <a:schemeClr val="bg1"/>
                </a:solidFill>
              </a:rPr>
            </a:br>
            <a:r>
              <a:rPr lang="en-US" sz="4400" b="0" err="1">
                <a:solidFill>
                  <a:schemeClr val="bg1"/>
                </a:solidFill>
              </a:rPr>
              <a:t>einer</a:t>
            </a:r>
            <a:r>
              <a:rPr lang="en-US" sz="4400" b="0">
                <a:solidFill>
                  <a:schemeClr val="bg1"/>
                </a:solidFill>
              </a:rPr>
              <a:t> </a:t>
            </a:r>
            <a:r>
              <a:rPr lang="en-US" sz="4400" b="0" err="1">
                <a:solidFill>
                  <a:schemeClr val="bg1"/>
                </a:solidFill>
              </a:rPr>
              <a:t>IaC</a:t>
            </a:r>
            <a:r>
              <a:rPr lang="en-US" sz="4400" b="0">
                <a:solidFill>
                  <a:schemeClr val="bg1"/>
                </a:solidFill>
              </a:rPr>
              <a:t> </a:t>
            </a:r>
            <a:r>
              <a:rPr lang="en-US" sz="4400" b="0" err="1">
                <a:solidFill>
                  <a:schemeClr val="bg1"/>
                </a:solidFill>
              </a:rPr>
              <a:t>Gesamtstrategie</a:t>
            </a:r>
            <a:br>
              <a:rPr lang="en-US" sz="4400" b="0">
                <a:solidFill>
                  <a:schemeClr val="bg1"/>
                </a:solidFill>
              </a:rPr>
            </a:br>
            <a:endParaRPr lang="en-US" sz="4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6542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81624E9-1917-BDA5-8791-894C948165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6. Anwendertreffen - Keynote ITO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5A376C9-9091-6340-7BDA-27B539BC23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A7D89C3-9658-76D2-6E13-A16015A6D9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D957EBC-76C4-49DD-CAAC-E438157980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D182155-604A-8F08-2685-38FFF97001AC}"/>
              </a:ext>
            </a:extLst>
          </p:cNvPr>
          <p:cNvSpPr/>
          <p:nvPr/>
        </p:nvSpPr>
        <p:spPr bwMode="gray">
          <a:xfrm>
            <a:off x="8131200" y="0"/>
            <a:ext cx="4060800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5400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288000" rIns="288000" bIns="288000" rtlCol="0" anchor="t"/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OPERATIONAL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EXCELLENCE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</a:b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Efficient Processes: 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srgbClr val="0032A0"/>
                </a:solidFill>
                <a:latin typeface="Avenir Next LT Pro Light"/>
              </a:rPr>
              <a:t>Aufgaben und Werkzeuge optimieren, Zeit und Aufwand spar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>
              <a:solidFill>
                <a:srgbClr val="0032A0"/>
              </a:solidFill>
              <a:latin typeface="Avenir Next LT Pro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Continuous Improvement: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srgbClr val="0032A0"/>
                </a:solidFill>
                <a:latin typeface="Avenir Next LT Pro Light"/>
              </a:rPr>
              <a:t>Prozesse regelmäßig verfeinern, Automatisierung und neue Technologien nutzen</a:t>
            </a:r>
            <a:br>
              <a:rPr lang="en-US" sz="1400">
                <a:solidFill>
                  <a:srgbClr val="0032A0"/>
                </a:solidFill>
                <a:latin typeface="Avenir Next LT Pro Light"/>
              </a:rPr>
            </a:br>
            <a:endParaRPr lang="de-DE" sz="1400">
              <a:solidFill>
                <a:srgbClr val="0032A0"/>
              </a:solidFill>
              <a:latin typeface="Avenir Next LT Pro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Secure by desig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srgbClr val="0032A0"/>
                </a:solidFill>
                <a:latin typeface="Avenir Next LT Pro Light"/>
              </a:rPr>
              <a:t>Sicheres Design sowie vollständiges Lifecycle- und Patch-Management sicherstellen</a:t>
            </a:r>
            <a:br>
              <a:rPr lang="en-US" sz="1400">
                <a:solidFill>
                  <a:srgbClr val="0032A0"/>
                </a:solidFill>
                <a:latin typeface="Avenir Next LT Pro Light"/>
              </a:rPr>
            </a:br>
            <a:endParaRPr lang="en-US" sz="1400">
              <a:solidFill>
                <a:srgbClr val="0032A0"/>
              </a:solidFill>
              <a:latin typeface="Avenir Next LT Pro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Proactive Monitoring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srgbClr val="0032A0"/>
                </a:solidFill>
                <a:latin typeface="Avenir Next LT Pro Light"/>
              </a:rPr>
              <a:t>Probleme schnell erkennen und lösen, Ausfallzeiten minimieren</a:t>
            </a:r>
            <a:br>
              <a:rPr lang="en-US" sz="1400">
                <a:solidFill>
                  <a:srgbClr val="0032A0"/>
                </a:solidFill>
                <a:latin typeface="Avenir Next LT Pro Light"/>
              </a:rPr>
            </a:br>
            <a:endParaRPr lang="de-DE" sz="1400">
              <a:solidFill>
                <a:srgbClr val="0032A0"/>
              </a:solidFill>
              <a:latin typeface="Avenir Next LT Pro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Agile &amp; Cost-Conscious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srgbClr val="0032A0"/>
                </a:solidFill>
                <a:latin typeface="Avenir Next LT Pro Light"/>
              </a:rPr>
              <a:t>Anpassung an sich ändernde Bedürfnisse, Ressourcen für Kosteneinsparungen und Effizienz optimier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8" name="Freihandform 7">
            <a:extLst>
              <a:ext uri="{FF2B5EF4-FFF2-40B4-BE49-F238E27FC236}">
                <a16:creationId xmlns:a16="http://schemas.microsoft.com/office/drawing/2014/main" id="{A84754A7-8099-2110-FA99-AF1DF9AA2E2C}"/>
              </a:ext>
            </a:extLst>
          </p:cNvPr>
          <p:cNvSpPr/>
          <p:nvPr/>
        </p:nvSpPr>
        <p:spPr bwMode="gray">
          <a:xfrm>
            <a:off x="4066544" y="0"/>
            <a:ext cx="4578088" cy="6858000"/>
          </a:xfrm>
          <a:custGeom>
            <a:avLst/>
            <a:gdLst>
              <a:gd name="connsiteX0" fmla="*/ 0 w 4578088"/>
              <a:gd name="connsiteY0" fmla="*/ 0 h 6858000"/>
              <a:gd name="connsiteX1" fmla="*/ 4060800 w 4578088"/>
              <a:gd name="connsiteY1" fmla="*/ 0 h 6858000"/>
              <a:gd name="connsiteX2" fmla="*/ 4060800 w 4578088"/>
              <a:gd name="connsiteY2" fmla="*/ 397964 h 6858000"/>
              <a:gd name="connsiteX3" fmla="*/ 4072881 w 4578088"/>
              <a:gd name="connsiteY3" fmla="*/ 387996 h 6858000"/>
              <a:gd name="connsiteX4" fmla="*/ 4254052 w 4578088"/>
              <a:gd name="connsiteY4" fmla="*/ 332656 h 6858000"/>
              <a:gd name="connsiteX5" fmla="*/ 4578088 w 4578088"/>
              <a:gd name="connsiteY5" fmla="*/ 656692 h 6858000"/>
              <a:gd name="connsiteX6" fmla="*/ 4254052 w 4578088"/>
              <a:gd name="connsiteY6" fmla="*/ 980728 h 6858000"/>
              <a:gd name="connsiteX7" fmla="*/ 4072881 w 4578088"/>
              <a:gd name="connsiteY7" fmla="*/ 925388 h 6858000"/>
              <a:gd name="connsiteX8" fmla="*/ 4060800 w 4578088"/>
              <a:gd name="connsiteY8" fmla="*/ 915420 h 6858000"/>
              <a:gd name="connsiteX9" fmla="*/ 4060800 w 4578088"/>
              <a:gd name="connsiteY9" fmla="*/ 6858000 h 6858000"/>
              <a:gd name="connsiteX10" fmla="*/ 0 w 4578088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578088" h="6858000">
                <a:moveTo>
                  <a:pt x="0" y="0"/>
                </a:moveTo>
                <a:lnTo>
                  <a:pt x="4060800" y="0"/>
                </a:lnTo>
                <a:lnTo>
                  <a:pt x="4060800" y="397964"/>
                </a:lnTo>
                <a:lnTo>
                  <a:pt x="4072881" y="387996"/>
                </a:lnTo>
                <a:cubicBezTo>
                  <a:pt x="4124597" y="353057"/>
                  <a:pt x="4186942" y="332656"/>
                  <a:pt x="4254052" y="332656"/>
                </a:cubicBezTo>
                <a:cubicBezTo>
                  <a:pt x="4433012" y="332656"/>
                  <a:pt x="4578088" y="477732"/>
                  <a:pt x="4578088" y="656692"/>
                </a:cubicBezTo>
                <a:cubicBezTo>
                  <a:pt x="4578088" y="835652"/>
                  <a:pt x="4433012" y="980728"/>
                  <a:pt x="4254052" y="980728"/>
                </a:cubicBezTo>
                <a:cubicBezTo>
                  <a:pt x="4186942" y="980728"/>
                  <a:pt x="4124597" y="960327"/>
                  <a:pt x="4072881" y="925388"/>
                </a:cubicBezTo>
                <a:lnTo>
                  <a:pt x="4060800" y="915420"/>
                </a:lnTo>
                <a:lnTo>
                  <a:pt x="40608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 w="25400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t"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OPERATION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AS CODE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</a:b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Automatio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 Light"/>
                <a:ea typeface="+mn-ea"/>
                <a:cs typeface="+mn-cs"/>
              </a:rPr>
              <a:t>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err="1">
                <a:solidFill>
                  <a:srgbClr val="0032A0"/>
                </a:solidFill>
                <a:latin typeface="Avenir Next LT Pro Light"/>
              </a:rPr>
              <a:t>Operations</a:t>
            </a:r>
            <a:r>
              <a:rPr lang="de-DE" sz="1400">
                <a:solidFill>
                  <a:srgbClr val="0032A0"/>
                </a:solidFill>
                <a:latin typeface="Avenir Next LT Pro Light"/>
              </a:rPr>
              <a:t> </a:t>
            </a:r>
            <a:r>
              <a:rPr lang="de-DE" sz="1400" err="1">
                <a:solidFill>
                  <a:srgbClr val="0032A0"/>
                </a:solidFill>
                <a:latin typeface="Avenir Next LT Pro Light"/>
              </a:rPr>
              <a:t>as</a:t>
            </a:r>
            <a:r>
              <a:rPr lang="de-DE" sz="1400">
                <a:solidFill>
                  <a:srgbClr val="0032A0"/>
                </a:solidFill>
                <a:latin typeface="Avenir Next LT Pro Light"/>
              </a:rPr>
              <a:t> Code automatisiert un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srgbClr val="0032A0"/>
                </a:solidFill>
                <a:latin typeface="Avenir Next LT Pro Light"/>
              </a:rPr>
              <a:t>kodifiziert Aufgaben mithilfe von Softwareentwicklungspraktiken für ein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srgbClr val="0032A0"/>
                </a:solidFill>
                <a:latin typeface="Avenir Next LT Pro Light"/>
              </a:rPr>
              <a:t>End-</a:t>
            </a:r>
            <a:r>
              <a:rPr lang="de-DE" sz="1400" err="1">
                <a:solidFill>
                  <a:srgbClr val="0032A0"/>
                </a:solidFill>
                <a:latin typeface="Avenir Next LT Pro Light"/>
              </a:rPr>
              <a:t>to</a:t>
            </a:r>
            <a:r>
              <a:rPr lang="de-DE" sz="1400">
                <a:solidFill>
                  <a:srgbClr val="0032A0"/>
                </a:solidFill>
                <a:latin typeface="Avenir Next LT Pro Light"/>
              </a:rPr>
              <a:t>-End-Automatisierung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0032A0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Infrastructure as Code (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IaC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)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srgbClr val="0032A0"/>
                </a:solidFill>
                <a:latin typeface="Avenir Next LT Pro Light"/>
              </a:rPr>
              <a:t>Behandelt Infrastrukturkomponenten als programmierbare, deklarative Entitäten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srgbClr val="0032A0"/>
                </a:solidFill>
                <a:latin typeface="Avenir Next LT Pro Light"/>
              </a:rPr>
              <a:t>indem diese durch Code definiert un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srgbClr val="0032A0"/>
                </a:solidFill>
                <a:latin typeface="Avenir Next LT Pro Light"/>
              </a:rPr>
              <a:t>verwaltet werden.</a:t>
            </a:r>
            <a:br>
              <a:rPr lang="en-US" sz="1400">
                <a:solidFill>
                  <a:srgbClr val="0032A0"/>
                </a:solidFill>
                <a:latin typeface="Avenir Next LT Pro Light"/>
              </a:rPr>
            </a:br>
            <a:endParaRPr lang="en-US" sz="1400">
              <a:solidFill>
                <a:srgbClr val="0032A0"/>
              </a:solidFill>
              <a:latin typeface="Avenir Next LT Pro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Consistency and Scalability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srgbClr val="0032A0"/>
                </a:solidFill>
                <a:latin typeface="Avenir Next LT Pro Light"/>
              </a:rPr>
              <a:t>Durch die Anwendung von Codierungs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err="1">
                <a:solidFill>
                  <a:srgbClr val="0032A0"/>
                </a:solidFill>
                <a:latin typeface="Avenir Next LT Pro Light"/>
              </a:rPr>
              <a:t>praktiken</a:t>
            </a:r>
            <a:r>
              <a:rPr lang="de-DE" sz="1400">
                <a:solidFill>
                  <a:srgbClr val="0032A0"/>
                </a:solidFill>
                <a:latin typeface="Avenir Next LT Pro Light"/>
              </a:rPr>
              <a:t> auf operationale Aufgabe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srgbClr val="0032A0"/>
                </a:solidFill>
                <a:latin typeface="Avenir Next LT Pro Light"/>
              </a:rPr>
              <a:t>ermöglicht es konsistente, reproduzierba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srgbClr val="0032A0"/>
                </a:solidFill>
                <a:latin typeface="Avenir Next LT Pro Light"/>
              </a:rPr>
              <a:t>und skalierbare Infrastruktur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>
                <a:solidFill>
                  <a:srgbClr val="0032A0"/>
                </a:solidFill>
                <a:latin typeface="Avenir Next LT Pro Light"/>
              </a:rPr>
              <a:t> </a:t>
            </a:r>
            <a:endParaRPr lang="en-US" sz="1400">
              <a:solidFill>
                <a:srgbClr val="0032A0"/>
              </a:solidFill>
              <a:latin typeface="Avenir Next LT Pro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DevOps Integratio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32A0"/>
                </a:solidFill>
                <a:effectLst/>
                <a:uLnTx/>
                <a:uFillTx/>
                <a:latin typeface="Avenir Next LT Pro Light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err="1">
                <a:solidFill>
                  <a:srgbClr val="0032A0"/>
                </a:solidFill>
                <a:latin typeface="Avenir Next LT Pro Light"/>
              </a:rPr>
              <a:t>Operations</a:t>
            </a:r>
            <a:r>
              <a:rPr lang="de-DE" sz="1400">
                <a:solidFill>
                  <a:srgbClr val="0032A0"/>
                </a:solidFill>
                <a:latin typeface="Avenir Next LT Pro Light"/>
              </a:rPr>
              <a:t> </a:t>
            </a:r>
            <a:r>
              <a:rPr lang="de-DE" sz="1400" err="1">
                <a:solidFill>
                  <a:srgbClr val="0032A0"/>
                </a:solidFill>
                <a:latin typeface="Avenir Next LT Pro Light"/>
              </a:rPr>
              <a:t>as</a:t>
            </a:r>
            <a:r>
              <a:rPr lang="de-DE" sz="1400">
                <a:solidFill>
                  <a:srgbClr val="0032A0"/>
                </a:solidFill>
                <a:latin typeface="Avenir Next LT Pro Light"/>
              </a:rPr>
              <a:t> Code stimmt sich mit de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err="1">
                <a:solidFill>
                  <a:srgbClr val="0032A0"/>
                </a:solidFill>
                <a:latin typeface="Avenir Next LT Pro Light"/>
              </a:rPr>
              <a:t>DevOps</a:t>
            </a:r>
            <a:r>
              <a:rPr lang="de-DE" sz="1400">
                <a:solidFill>
                  <a:srgbClr val="0032A0"/>
                </a:solidFill>
                <a:latin typeface="Avenir Next LT Pro Light"/>
              </a:rPr>
              <a:t>-Kultur für Entwicklungs- und Operationsteams ab.</a:t>
            </a:r>
          </a:p>
        </p:txBody>
      </p:sp>
      <p:sp>
        <p:nvSpPr>
          <p:cNvPr id="9" name="Freihandform 8">
            <a:extLst>
              <a:ext uri="{FF2B5EF4-FFF2-40B4-BE49-F238E27FC236}">
                <a16:creationId xmlns:a16="http://schemas.microsoft.com/office/drawing/2014/main" id="{B02C3EDD-CCCE-16E4-C1F4-43AC36D6973F}"/>
              </a:ext>
            </a:extLst>
          </p:cNvPr>
          <p:cNvSpPr/>
          <p:nvPr/>
        </p:nvSpPr>
        <p:spPr bwMode="gray">
          <a:xfrm>
            <a:off x="0" y="0"/>
            <a:ext cx="4583832" cy="6858000"/>
          </a:xfrm>
          <a:custGeom>
            <a:avLst/>
            <a:gdLst>
              <a:gd name="connsiteX0" fmla="*/ 0 w 4583832"/>
              <a:gd name="connsiteY0" fmla="*/ 0 h 6858000"/>
              <a:gd name="connsiteX1" fmla="*/ 4060800 w 4583832"/>
              <a:gd name="connsiteY1" fmla="*/ 0 h 6858000"/>
              <a:gd name="connsiteX2" fmla="*/ 4060800 w 4583832"/>
              <a:gd name="connsiteY2" fmla="*/ 402703 h 6858000"/>
              <a:gd name="connsiteX3" fmla="*/ 4078625 w 4583832"/>
              <a:gd name="connsiteY3" fmla="*/ 387996 h 6858000"/>
              <a:gd name="connsiteX4" fmla="*/ 4259796 w 4583832"/>
              <a:gd name="connsiteY4" fmla="*/ 332656 h 6858000"/>
              <a:gd name="connsiteX5" fmla="*/ 4583832 w 4583832"/>
              <a:gd name="connsiteY5" fmla="*/ 656692 h 6858000"/>
              <a:gd name="connsiteX6" fmla="*/ 4259796 w 4583832"/>
              <a:gd name="connsiteY6" fmla="*/ 980728 h 6858000"/>
              <a:gd name="connsiteX7" fmla="*/ 4078625 w 4583832"/>
              <a:gd name="connsiteY7" fmla="*/ 925388 h 6858000"/>
              <a:gd name="connsiteX8" fmla="*/ 4060800 w 4583832"/>
              <a:gd name="connsiteY8" fmla="*/ 910681 h 6858000"/>
              <a:gd name="connsiteX9" fmla="*/ 4060800 w 4583832"/>
              <a:gd name="connsiteY9" fmla="*/ 6858000 h 6858000"/>
              <a:gd name="connsiteX10" fmla="*/ 0 w 4583832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583832" h="6858000">
                <a:moveTo>
                  <a:pt x="0" y="0"/>
                </a:moveTo>
                <a:lnTo>
                  <a:pt x="4060800" y="0"/>
                </a:lnTo>
                <a:lnTo>
                  <a:pt x="4060800" y="402703"/>
                </a:lnTo>
                <a:lnTo>
                  <a:pt x="4078625" y="387996"/>
                </a:lnTo>
                <a:cubicBezTo>
                  <a:pt x="4130341" y="353057"/>
                  <a:pt x="4192686" y="332656"/>
                  <a:pt x="4259796" y="332656"/>
                </a:cubicBezTo>
                <a:cubicBezTo>
                  <a:pt x="4438756" y="332656"/>
                  <a:pt x="4583832" y="477732"/>
                  <a:pt x="4583832" y="656692"/>
                </a:cubicBezTo>
                <a:cubicBezTo>
                  <a:pt x="4583832" y="835652"/>
                  <a:pt x="4438756" y="980728"/>
                  <a:pt x="4259796" y="980728"/>
                </a:cubicBezTo>
                <a:cubicBezTo>
                  <a:pt x="4192686" y="980728"/>
                  <a:pt x="4130341" y="960327"/>
                  <a:pt x="4078625" y="925388"/>
                </a:cubicBezTo>
                <a:lnTo>
                  <a:pt x="4060800" y="910681"/>
                </a:lnTo>
                <a:lnTo>
                  <a:pt x="40608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 w="25400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t"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CLOUD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STRATEGY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</a:b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Retain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 Light"/>
                <a:ea typeface="+mn-ea"/>
                <a:cs typeface="+mn-cs"/>
              </a:rPr>
            </a:br>
            <a:r>
              <a:rPr lang="de-DE" sz="1400"/>
              <a:t>Kein "Lift &amp; Shift" von Anwendungen, die funktional unverändert bleiben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 Light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Refactor 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</a:br>
            <a:r>
              <a:rPr lang="de-DE" sz="1400"/>
              <a:t>Vorbereitung auf Transformation und Kostenoptimierung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 Light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Lifecycle / Repurchase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</a:br>
            <a:r>
              <a:rPr lang="de-DE" sz="1400"/>
              <a:t>SaaS als bevorzugtes Bereitstellungsmode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/>
              <a:t> zur Erneuerung bestehender Prozesse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 Light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Build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</a:br>
            <a:r>
              <a:rPr lang="de-DE" sz="1400"/>
              <a:t>Neue Innovationen werden "Cloud-nativ" entwickelt (vorzugsweise auf PaaS) oder al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/>
              <a:t>SaaS angewendet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 </a:t>
            </a:r>
            <a:endParaRPr kumimoji="0" lang="de-DE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13326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D6F5DC7-88E4-071E-6CA1-AA67D7ABF6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C0069AEE-D70F-4F66-B615-13FB9818742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F4CE6C5-BDBD-1943-E877-85FDA4E395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Ansible</a:t>
            </a:r>
            <a:r>
              <a:rPr lang="de-DE"/>
              <a:t> Integration in IT-Strategie</a:t>
            </a:r>
          </a:p>
        </p:txBody>
      </p:sp>
      <p:sp>
        <p:nvSpPr>
          <p:cNvPr id="9" name="TextBox 19">
            <a:extLst>
              <a:ext uri="{FF2B5EF4-FFF2-40B4-BE49-F238E27FC236}">
                <a16:creationId xmlns:a16="http://schemas.microsoft.com/office/drawing/2014/main" id="{A00A6E39-A4D8-DB07-2D23-09C33B047B04}"/>
              </a:ext>
            </a:extLst>
          </p:cNvPr>
          <p:cNvSpPr txBox="1"/>
          <p:nvPr/>
        </p:nvSpPr>
        <p:spPr>
          <a:xfrm>
            <a:off x="1895281" y="3549148"/>
            <a:ext cx="194532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+mj-lt"/>
              </a:rPr>
              <a:t>Infrastructure </a:t>
            </a:r>
            <a:r>
              <a:rPr lang="de-DE" sz="1600" err="1">
                <a:latin typeface="+mj-lt"/>
              </a:rPr>
              <a:t>as</a:t>
            </a:r>
            <a:r>
              <a:rPr lang="de-DE" sz="1600">
                <a:latin typeface="+mj-lt"/>
              </a:rPr>
              <a:t> Code (</a:t>
            </a:r>
            <a:r>
              <a:rPr lang="de-DE" sz="1600" err="1">
                <a:latin typeface="+mj-lt"/>
              </a:rPr>
              <a:t>IaC</a:t>
            </a:r>
            <a:r>
              <a:rPr lang="de-DE" sz="1600">
                <a:latin typeface="+mj-lt"/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+mj-lt"/>
              </a:rPr>
              <a:t>Multi-Cloud /Hybrid-Cloud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+mj-lt"/>
              </a:rPr>
              <a:t>CI/CD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+mj-lt"/>
              </a:rPr>
              <a:t>Sicherheit und Compliance</a:t>
            </a:r>
            <a:endParaRPr kumimoji="0" lang="en-US" sz="16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9" name="TextBox 29">
            <a:extLst>
              <a:ext uri="{FF2B5EF4-FFF2-40B4-BE49-F238E27FC236}">
                <a16:creationId xmlns:a16="http://schemas.microsoft.com/office/drawing/2014/main" id="{A624E3C8-9C86-614E-F97C-75CB7D24686B}"/>
              </a:ext>
            </a:extLst>
          </p:cNvPr>
          <p:cNvSpPr txBox="1"/>
          <p:nvPr/>
        </p:nvSpPr>
        <p:spPr>
          <a:xfrm>
            <a:off x="1858512" y="1674584"/>
            <a:ext cx="2064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>
                <a:solidFill>
                  <a:schemeClr val="accent1"/>
                </a:solidFill>
                <a:latin typeface="+mj-lt"/>
                <a:cs typeface="Arial" pitchFamily="34" charset="0"/>
              </a:rPr>
              <a:t>Cloud Strategy</a:t>
            </a:r>
            <a:endParaRPr lang="ko-KR" altLang="en-US" sz="1400" b="1">
              <a:solidFill>
                <a:schemeClr val="accent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0" name="TextBox 30">
            <a:extLst>
              <a:ext uri="{FF2B5EF4-FFF2-40B4-BE49-F238E27FC236}">
                <a16:creationId xmlns:a16="http://schemas.microsoft.com/office/drawing/2014/main" id="{B16A1801-F58B-6429-25A5-76D6CCF36DEE}"/>
              </a:ext>
            </a:extLst>
          </p:cNvPr>
          <p:cNvSpPr txBox="1"/>
          <p:nvPr/>
        </p:nvSpPr>
        <p:spPr>
          <a:xfrm>
            <a:off x="4701496" y="1674584"/>
            <a:ext cx="2064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>
                <a:solidFill>
                  <a:schemeClr val="accent2"/>
                </a:solidFill>
                <a:latin typeface="+mj-lt"/>
                <a:cs typeface="Arial" pitchFamily="34" charset="0"/>
              </a:rPr>
              <a:t>Automation</a:t>
            </a:r>
            <a:endParaRPr lang="ko-KR" altLang="en-US" sz="1400" b="1">
              <a:solidFill>
                <a:schemeClr val="accent2"/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TextBox 31">
            <a:extLst>
              <a:ext uri="{FF2B5EF4-FFF2-40B4-BE49-F238E27FC236}">
                <a16:creationId xmlns:a16="http://schemas.microsoft.com/office/drawing/2014/main" id="{848B3B2C-F963-98C9-CC94-0811F90DFFEB}"/>
              </a:ext>
            </a:extLst>
          </p:cNvPr>
          <p:cNvSpPr txBox="1"/>
          <p:nvPr/>
        </p:nvSpPr>
        <p:spPr>
          <a:xfrm>
            <a:off x="7417841" y="1686327"/>
            <a:ext cx="23179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b="1">
                <a:solidFill>
                  <a:schemeClr val="accent3"/>
                </a:solidFill>
                <a:latin typeface="+mj-lt"/>
                <a:cs typeface="Arial" pitchFamily="34" charset="0"/>
              </a:rPr>
              <a:t>Operational Excellence</a:t>
            </a:r>
            <a:endParaRPr lang="ko-KR" altLang="en-US" sz="1400" b="1">
              <a:solidFill>
                <a:schemeClr val="accent3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23" name="Group 37">
            <a:extLst>
              <a:ext uri="{FF2B5EF4-FFF2-40B4-BE49-F238E27FC236}">
                <a16:creationId xmlns:a16="http://schemas.microsoft.com/office/drawing/2014/main" id="{07B5F34A-1ECF-387A-45A7-3689D813974C}"/>
              </a:ext>
            </a:extLst>
          </p:cNvPr>
          <p:cNvGrpSpPr/>
          <p:nvPr/>
        </p:nvGrpSpPr>
        <p:grpSpPr>
          <a:xfrm>
            <a:off x="2207568" y="1982066"/>
            <a:ext cx="7052485" cy="1366517"/>
            <a:chOff x="1127549" y="2197714"/>
            <a:chExt cx="7052485" cy="1366517"/>
          </a:xfrm>
        </p:grpSpPr>
        <p:sp>
          <p:nvSpPr>
            <p:cNvPr id="24" name="Rectangle 2">
              <a:extLst>
                <a:ext uri="{FF2B5EF4-FFF2-40B4-BE49-F238E27FC236}">
                  <a16:creationId xmlns:a16="http://schemas.microsoft.com/office/drawing/2014/main" id="{575E6EF2-9279-EC66-1E90-1E1935B6FF4A}"/>
                </a:ext>
              </a:extLst>
            </p:cNvPr>
            <p:cNvSpPr/>
            <p:nvPr/>
          </p:nvSpPr>
          <p:spPr>
            <a:xfrm>
              <a:off x="4650479" y="2515130"/>
              <a:ext cx="2476737" cy="7565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8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6F8FF5D7-E41A-9C53-AB8C-692C8F42EBBF}"/>
                </a:ext>
              </a:extLst>
            </p:cNvPr>
            <p:cNvSpPr/>
            <p:nvPr/>
          </p:nvSpPr>
          <p:spPr>
            <a:xfrm>
              <a:off x="7023885" y="2515130"/>
              <a:ext cx="1026456" cy="7565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8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5F5132DB-CB65-B233-34C7-B2B5D6BC3726}"/>
                </a:ext>
              </a:extLst>
            </p:cNvPr>
            <p:cNvSpPr/>
            <p:nvPr/>
          </p:nvSpPr>
          <p:spPr>
            <a:xfrm>
              <a:off x="1808923" y="2591264"/>
              <a:ext cx="3047527" cy="6804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8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grpSp>
          <p:nvGrpSpPr>
            <p:cNvPr id="27" name="Group 5">
              <a:extLst>
                <a:ext uri="{FF2B5EF4-FFF2-40B4-BE49-F238E27FC236}">
                  <a16:creationId xmlns:a16="http://schemas.microsoft.com/office/drawing/2014/main" id="{C05E1375-4A34-C8ED-DDC6-0BD2AE358C1B}"/>
                </a:ext>
              </a:extLst>
            </p:cNvPr>
            <p:cNvGrpSpPr/>
            <p:nvPr/>
          </p:nvGrpSpPr>
          <p:grpSpPr>
            <a:xfrm>
              <a:off x="1127549" y="2197714"/>
              <a:ext cx="1366517" cy="1366517"/>
              <a:chOff x="491147" y="1767507"/>
              <a:chExt cx="1228997" cy="1228997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E6252EE1-C105-CE8A-DCA3-ED055BDB7BD3}"/>
                  </a:ext>
                </a:extLst>
              </p:cNvPr>
              <p:cNvSpPr/>
              <p:nvPr/>
            </p:nvSpPr>
            <p:spPr>
              <a:xfrm>
                <a:off x="491147" y="1767507"/>
                <a:ext cx="1228997" cy="1228997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80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D6A13CE2-69D6-E949-4817-EDDE6C8ABA3B}"/>
                  </a:ext>
                </a:extLst>
              </p:cNvPr>
              <p:cNvSpPr/>
              <p:nvPr/>
            </p:nvSpPr>
            <p:spPr>
              <a:xfrm>
                <a:off x="631371" y="1907731"/>
                <a:ext cx="948548" cy="94854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</p:grpSp>
        <p:grpSp>
          <p:nvGrpSpPr>
            <p:cNvPr id="28" name="Group 8">
              <a:extLst>
                <a:ext uri="{FF2B5EF4-FFF2-40B4-BE49-F238E27FC236}">
                  <a16:creationId xmlns:a16="http://schemas.microsoft.com/office/drawing/2014/main" id="{A44B4F50-E37A-A10F-3877-E9335B34AF0D}"/>
                </a:ext>
              </a:extLst>
            </p:cNvPr>
            <p:cNvGrpSpPr/>
            <p:nvPr/>
          </p:nvGrpSpPr>
          <p:grpSpPr>
            <a:xfrm>
              <a:off x="3970533" y="2197714"/>
              <a:ext cx="1366517" cy="1366517"/>
              <a:chOff x="491147" y="1767507"/>
              <a:chExt cx="1228997" cy="1228997"/>
            </a:xfrm>
          </p:grpSpPr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79E91ACC-1CAE-25A6-F01A-15A7696E8456}"/>
                  </a:ext>
                </a:extLst>
              </p:cNvPr>
              <p:cNvSpPr/>
              <p:nvPr/>
            </p:nvSpPr>
            <p:spPr>
              <a:xfrm>
                <a:off x="491147" y="1767507"/>
                <a:ext cx="1228997" cy="1228997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80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4D3B12F4-8140-85C6-06FB-4F62B6174D16}"/>
                  </a:ext>
                </a:extLst>
              </p:cNvPr>
              <p:cNvSpPr/>
              <p:nvPr/>
            </p:nvSpPr>
            <p:spPr>
              <a:xfrm>
                <a:off x="631371" y="1907731"/>
                <a:ext cx="948548" cy="948548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</p:grpSp>
        <p:grpSp>
          <p:nvGrpSpPr>
            <p:cNvPr id="29" name="Group 11">
              <a:extLst>
                <a:ext uri="{FF2B5EF4-FFF2-40B4-BE49-F238E27FC236}">
                  <a16:creationId xmlns:a16="http://schemas.microsoft.com/office/drawing/2014/main" id="{92EF48C6-FDAB-54D2-6A6B-D39F10CD03FD}"/>
                </a:ext>
              </a:extLst>
            </p:cNvPr>
            <p:cNvGrpSpPr/>
            <p:nvPr/>
          </p:nvGrpSpPr>
          <p:grpSpPr>
            <a:xfrm>
              <a:off x="6813517" y="2197714"/>
              <a:ext cx="1366517" cy="1366517"/>
              <a:chOff x="491147" y="1767507"/>
              <a:chExt cx="1228997" cy="1228997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4C017E3A-3F4C-3336-E0CE-A542453CD0B4}"/>
                  </a:ext>
                </a:extLst>
              </p:cNvPr>
              <p:cNvSpPr/>
              <p:nvPr/>
            </p:nvSpPr>
            <p:spPr>
              <a:xfrm>
                <a:off x="491147" y="1767507"/>
                <a:ext cx="1228997" cy="1228997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80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BE0D85C6-6690-CE96-FF10-112E345EDE8B}"/>
                  </a:ext>
                </a:extLst>
              </p:cNvPr>
              <p:cNvSpPr/>
              <p:nvPr/>
            </p:nvSpPr>
            <p:spPr>
              <a:xfrm>
                <a:off x="631371" y="1907731"/>
                <a:ext cx="948548" cy="94854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</p:grpSp>
      </p:grpSp>
      <p:sp>
        <p:nvSpPr>
          <p:cNvPr id="43" name="TextBox 19">
            <a:extLst>
              <a:ext uri="{FF2B5EF4-FFF2-40B4-BE49-F238E27FC236}">
                <a16:creationId xmlns:a16="http://schemas.microsoft.com/office/drawing/2014/main" id="{54F79DD0-84D5-D065-8A16-C11D36DC1990}"/>
              </a:ext>
            </a:extLst>
          </p:cNvPr>
          <p:cNvSpPr txBox="1"/>
          <p:nvPr/>
        </p:nvSpPr>
        <p:spPr>
          <a:xfrm>
            <a:off x="4820805" y="3549148"/>
            <a:ext cx="19453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+mj-lt"/>
              </a:rPr>
              <a:t>Zentrale Verwaltung und Konsistenz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+mj-lt"/>
              </a:rPr>
              <a:t>Agentenloser Betrieb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+mj-lt"/>
              </a:rPr>
              <a:t>Integration in CI/CD-Pipeline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+mj-lt"/>
              </a:rPr>
              <a:t>Skalierbare Automatisierung</a:t>
            </a:r>
            <a:endParaRPr kumimoji="0" lang="en-US" sz="16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4" name="TextBox 19">
            <a:extLst>
              <a:ext uri="{FF2B5EF4-FFF2-40B4-BE49-F238E27FC236}">
                <a16:creationId xmlns:a16="http://schemas.microsoft.com/office/drawing/2014/main" id="{20C5E82F-E6FF-0F1B-42D8-07F50586931E}"/>
              </a:ext>
            </a:extLst>
          </p:cNvPr>
          <p:cNvSpPr txBox="1"/>
          <p:nvPr/>
        </p:nvSpPr>
        <p:spPr>
          <a:xfrm>
            <a:off x="7458180" y="3532274"/>
            <a:ext cx="2317904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+mj-lt"/>
              </a:rPr>
              <a:t>Schnelle Bereitstellung und Skalierbarkeit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+mj-lt"/>
              </a:rPr>
              <a:t>Reduzierung manueller Fehler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+mj-lt"/>
              </a:rPr>
              <a:t>Automatisierung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+mj-lt"/>
              </a:rPr>
              <a:t>Kosten- und Zeitersparni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600">
                <a:latin typeface="+mj-lt"/>
              </a:rPr>
              <a:t>Sicherheit und Compliance</a:t>
            </a:r>
          </a:p>
        </p:txBody>
      </p:sp>
      <p:pic>
        <p:nvPicPr>
          <p:cNvPr id="46" name="Grafik 45" descr="Gehirn mit einfarbiger Füllung">
            <a:extLst>
              <a:ext uri="{FF2B5EF4-FFF2-40B4-BE49-F238E27FC236}">
                <a16:creationId xmlns:a16="http://schemas.microsoft.com/office/drawing/2014/main" id="{9DA5AEDA-DCC7-D124-D046-227E661130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60574" y="2287739"/>
            <a:ext cx="747561" cy="747561"/>
          </a:xfrm>
          <a:prstGeom prst="rect">
            <a:avLst/>
          </a:prstGeom>
        </p:spPr>
      </p:pic>
      <p:pic>
        <p:nvPicPr>
          <p:cNvPr id="48" name="Grafik 47" descr="Pflege mit einfarbiger Füllung">
            <a:extLst>
              <a:ext uri="{FF2B5EF4-FFF2-40B4-BE49-F238E27FC236}">
                <a16:creationId xmlns:a16="http://schemas.microsoft.com/office/drawing/2014/main" id="{F5AB55C8-8012-404F-A81E-65EDB86B71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42614" y="2336412"/>
            <a:ext cx="668357" cy="668357"/>
          </a:xfrm>
          <a:prstGeom prst="rect">
            <a:avLst/>
          </a:prstGeom>
        </p:spPr>
      </p:pic>
      <p:pic>
        <p:nvPicPr>
          <p:cNvPr id="50" name="Grafik 49" descr="Cloud mit einfarbiger Füllung">
            <a:extLst>
              <a:ext uri="{FF2B5EF4-FFF2-40B4-BE49-F238E27FC236}">
                <a16:creationId xmlns:a16="http://schemas.microsoft.com/office/drawing/2014/main" id="{B05FE585-879B-6849-E407-7374D43292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24514" y="2289843"/>
            <a:ext cx="742945" cy="742945"/>
          </a:xfrm>
          <a:prstGeom prst="rect">
            <a:avLst/>
          </a:prstGeom>
        </p:spPr>
      </p:pic>
      <p:sp>
        <p:nvSpPr>
          <p:cNvPr id="51" name="Fußzeilenplatzhalter 50">
            <a:extLst>
              <a:ext uri="{FF2B5EF4-FFF2-40B4-BE49-F238E27FC236}">
                <a16:creationId xmlns:a16="http://schemas.microsoft.com/office/drawing/2014/main" id="{2AA99D0A-E957-9D99-0F2E-D6FB61630F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6. Anwendertreffen - Keynote ITO</a:t>
            </a:r>
          </a:p>
        </p:txBody>
      </p:sp>
    </p:spTree>
    <p:extLst>
      <p:ext uri="{BB962C8B-B14F-4D97-AF65-F5344CB8AC3E}">
        <p14:creationId xmlns:p14="http://schemas.microsoft.com/office/powerpoint/2010/main" val="640834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DnQL01RUWq73dzb_tA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DnQL01RUWq73dzb_tAq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DnQL01RUWq73dzb_tA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DnQL01RUWq73dzb_tA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UwNsUTQEG76SuBTtK9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DnQL01RUWq73dzb_tA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DnQL01RUWq73dzb_tA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DnQL01RUWq73dzb_tAq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DnQL01RUWq73dzb_tAq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OGKKmT_qmtTWjqb8NGA"/>
</p:tagLst>
</file>

<file path=ppt/theme/theme1.xml><?xml version="1.0" encoding="utf-8"?>
<a:theme xmlns:a="http://schemas.openxmlformats.org/drawingml/2006/main" name="Beiersdorf">
  <a:themeElements>
    <a:clrScheme name="Beiersdorf Relaunch">
      <a:dk1>
        <a:srgbClr val="0032A0"/>
      </a:dk1>
      <a:lt1>
        <a:srgbClr val="FFFFFF"/>
      </a:lt1>
      <a:dk2>
        <a:srgbClr val="C3D5F1"/>
      </a:dk2>
      <a:lt2>
        <a:srgbClr val="69635F"/>
      </a:lt2>
      <a:accent1>
        <a:srgbClr val="3356AB"/>
      </a:accent1>
      <a:accent2>
        <a:srgbClr val="98B6E4"/>
      </a:accent2>
      <a:accent3>
        <a:srgbClr val="8B8481"/>
      </a:accent3>
      <a:accent4>
        <a:srgbClr val="B0A9A4"/>
      </a:accent4>
      <a:accent5>
        <a:srgbClr val="CBC5C7"/>
      </a:accent5>
      <a:accent6>
        <a:srgbClr val="DEDDE1"/>
      </a:accent6>
      <a:hlink>
        <a:srgbClr val="0032A0"/>
      </a:hlink>
      <a:folHlink>
        <a:srgbClr val="0032A0"/>
      </a:folHlink>
    </a:clrScheme>
    <a:fontScheme name="Beiersdorf Relaunch">
      <a:majorFont>
        <a:latin typeface="Avenir Next LT Pro"/>
        <a:ea typeface=""/>
        <a:cs typeface=""/>
      </a:majorFont>
      <a:minorFont>
        <a:latin typeface="Avenir Next LT Pro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tx1"/>
        </a:solidFill>
        <a:ln w="12700">
          <a:noFill/>
        </a:ln>
      </a:spPr>
      <a:bodyPr lIns="72000" tIns="72000" rIns="72000" bIns="72000" rtlCol="0" anchor="ctr"/>
      <a:lstStyle>
        <a:defPPr algn="ctr">
          <a:spcAft>
            <a:spcPts val="600"/>
          </a:spcAft>
          <a:defRPr sz="1600" dirty="0" err="1" smtClean="0">
            <a:solidFill>
              <a:schemeClr val="bg1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bg2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  <a:ln w="12700">
          <a:noFill/>
        </a:ln>
      </a:spPr>
      <a:bodyPr wrap="square" lIns="0" tIns="0" rIns="0" bIns="0" rtlCol="0">
        <a:spAutoFit/>
      </a:bodyPr>
      <a:lstStyle>
        <a:defPPr marL="180000" indent="-180000" algn="l">
          <a:buClr>
            <a:schemeClr val="bg2"/>
          </a:buClr>
          <a:buFont typeface="Arial" panose="020B0604020202020204" pitchFamily="34" charset="0"/>
          <a:buChar char="•"/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  <a:custClrLst>
    <a:custClr name="Beiersdorf Blue">
      <a:srgbClr val="0032A0"/>
    </a:custClr>
    <a:custClr name="Deep Ocean">
      <a:srgbClr val="3356AB"/>
    </a:custClr>
    <a:custClr name="Waterfall">
      <a:srgbClr val="98B6E4"/>
    </a:custClr>
    <a:custClr name="Sky Blue">
      <a:srgbClr val="C3D5F1"/>
    </a:custClr>
    <a:custClr name="White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Graphite">
      <a:srgbClr val="69635F"/>
    </a:custClr>
    <a:custClr name="Stone">
      <a:srgbClr val="8B8481"/>
    </a:custClr>
    <a:custClr name="Linen">
      <a:srgbClr val="B0A9A4"/>
    </a:custClr>
    <a:custClr name="Oyster">
      <a:srgbClr val="CBC5C7"/>
    </a:custClr>
    <a:custClr name="Pearl">
      <a:srgbClr val="DEDDE1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Bright Yellow">
      <a:srgbClr val="FFF042"/>
    </a:custClr>
    <a:custClr name="Soft Yellow">
      <a:srgbClr val="FFF377"/>
    </a:custClr>
    <a:custClr name="Dark Night Blue">
      <a:srgbClr val="283269"/>
    </a:custClr>
    <a:custClr name="Dark Gray">
      <a:srgbClr val="5C5F62"/>
    </a:custClr>
    <a:custClr name="Eucerin Red">
      <a:srgbClr val="A70532"/>
    </a:custClr>
    <a:custClr name="Sustainability Green">
      <a:srgbClr val="45A13F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</a:custClrLst>
  <a:extLst>
    <a:ext uri="{05A4C25C-085E-4340-85A3-A5531E510DB2}">
      <thm15:themeFamily xmlns:thm15="http://schemas.microsoft.com/office/thememl/2012/main" name="K16_Beiersdorf_Slide Library_V10.pptx" id="{10910954-84D5-4CDE-A7CB-07536682EBDA}" vid="{154E926D-A739-410D-AD63-BD0DC74B6535}"/>
    </a:ext>
  </a:extLst>
</a:theme>
</file>

<file path=ppt/theme/theme2.xml><?xml version="1.0" encoding="utf-8"?>
<a:theme xmlns:a="http://schemas.openxmlformats.org/drawingml/2006/main" name="Office">
  <a:themeElements>
    <a:clrScheme name="Beiersdorf Relaunch">
      <a:dk1>
        <a:srgbClr val="69635F"/>
      </a:dk1>
      <a:lt1>
        <a:srgbClr val="FFFFFF"/>
      </a:lt1>
      <a:dk2>
        <a:srgbClr val="C3D5F1"/>
      </a:dk2>
      <a:lt2>
        <a:srgbClr val="0032A0"/>
      </a:lt2>
      <a:accent1>
        <a:srgbClr val="3356AB"/>
      </a:accent1>
      <a:accent2>
        <a:srgbClr val="98B6E4"/>
      </a:accent2>
      <a:accent3>
        <a:srgbClr val="8B8481"/>
      </a:accent3>
      <a:accent4>
        <a:srgbClr val="B0A9A4"/>
      </a:accent4>
      <a:accent5>
        <a:srgbClr val="CBC5C7"/>
      </a:accent5>
      <a:accent6>
        <a:srgbClr val="DEDDE1"/>
      </a:accent6>
      <a:hlink>
        <a:srgbClr val="0032A0"/>
      </a:hlink>
      <a:folHlink>
        <a:srgbClr val="0032A0"/>
      </a:folHlink>
    </a:clrScheme>
    <a:fontScheme name="Beiersdorf Relaunch">
      <a:majorFont>
        <a:latin typeface="Avenir Next LT Pro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eiersdorf Relaunch">
      <a:dk1>
        <a:srgbClr val="69635F"/>
      </a:dk1>
      <a:lt1>
        <a:srgbClr val="FFFFFF"/>
      </a:lt1>
      <a:dk2>
        <a:srgbClr val="C3D5F1"/>
      </a:dk2>
      <a:lt2>
        <a:srgbClr val="0032A0"/>
      </a:lt2>
      <a:accent1>
        <a:srgbClr val="3356AB"/>
      </a:accent1>
      <a:accent2>
        <a:srgbClr val="98B6E4"/>
      </a:accent2>
      <a:accent3>
        <a:srgbClr val="8B8481"/>
      </a:accent3>
      <a:accent4>
        <a:srgbClr val="B0A9A4"/>
      </a:accent4>
      <a:accent5>
        <a:srgbClr val="CBC5C7"/>
      </a:accent5>
      <a:accent6>
        <a:srgbClr val="DEDDE1"/>
      </a:accent6>
      <a:hlink>
        <a:srgbClr val="0032A0"/>
      </a:hlink>
      <a:folHlink>
        <a:srgbClr val="0032A0"/>
      </a:folHlink>
    </a:clrScheme>
    <a:fontScheme name="Beiersdorf Relaunch">
      <a:majorFont>
        <a:latin typeface="Avenir Next LT Pro"/>
        <a:ea typeface=""/>
        <a:cs typeface=""/>
      </a:majorFont>
      <a:minorFont>
        <a:latin typeface="Avenir Next LT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E9039E1C1F6A644843AFDB1A18DCC3A" ma:contentTypeVersion="18" ma:contentTypeDescription="Ein neues Dokument erstellen." ma:contentTypeScope="" ma:versionID="ddd12d9f91702bbdc63a0a163343b534">
  <xsd:schema xmlns:xsd="http://www.w3.org/2001/XMLSchema" xmlns:xs="http://www.w3.org/2001/XMLSchema" xmlns:p="http://schemas.microsoft.com/office/2006/metadata/properties" xmlns:ns2="106fbe69-db63-4a50-9407-d0b585a00cbd" xmlns:ns3="ab914945-94ed-4933-83ab-ec9b970720f1" targetNamespace="http://schemas.microsoft.com/office/2006/metadata/properties" ma:root="true" ma:fieldsID="1358a5c469c7179c5c7844d18ea92b27" ns2:_="" ns3:_="">
    <xsd:import namespace="106fbe69-db63-4a50-9407-d0b585a00cbd"/>
    <xsd:import namespace="ab914945-94ed-4933-83ab-ec9b970720f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Dat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6fbe69-db63-4a50-9407-d0b585a00c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Date" ma:index="14" nillable="true" ma:displayName="Date" ma:format="DateOnly" ma:internalName="Date">
      <xsd:simpleType>
        <xsd:restriction base="dms:DateTime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3d4df0dc-44d8-47fe-b539-696e2d2c1eb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914945-94ed-4933-83ab-ec9b970720f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fd87127-9adb-474b-987d-875ee4a104ef}" ma:internalName="TaxCatchAll" ma:showField="CatchAllData" ma:web="ab914945-94ed-4933-83ab-ec9b970720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b914945-94ed-4933-83ab-ec9b970720f1">
      <UserInfo>
        <DisplayName>Corporate Communications</DisplayName>
        <AccountId>7</AccountId>
        <AccountType/>
      </UserInfo>
      <UserInfo>
        <DisplayName>Neumann, Catarina /BDF HAM</DisplayName>
        <AccountId>15</AccountId>
        <AccountType/>
      </UserInfo>
      <UserInfo>
        <DisplayName>Hewing, Anna /BDF HAM</DisplayName>
        <AccountId>938</AccountId>
        <AccountType/>
      </UserInfo>
      <UserInfo>
        <DisplayName>Duschau, Katrin ext. /BDF HAM</DisplayName>
        <AccountId>4182</AccountId>
        <AccountType/>
      </UserInfo>
    </SharedWithUsers>
    <TaxCatchAll xmlns="ab914945-94ed-4933-83ab-ec9b970720f1" xsi:nil="true"/>
    <lcf76f155ced4ddcb4097134ff3c332f xmlns="106fbe69-db63-4a50-9407-d0b585a00cbd">
      <Terms xmlns="http://schemas.microsoft.com/office/infopath/2007/PartnerControls"/>
    </lcf76f155ced4ddcb4097134ff3c332f>
    <Date xmlns="106fbe69-db63-4a50-9407-d0b585a00cbd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B569BB7-7B06-4AA4-813A-64A53858A184}">
  <ds:schemaRefs>
    <ds:schemaRef ds:uri="106fbe69-db63-4a50-9407-d0b585a00cbd"/>
    <ds:schemaRef ds:uri="ab914945-94ed-4933-83ab-ec9b970720f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28A6921-7AFD-460D-AC82-BABE7A25506B}">
  <ds:schemaRefs>
    <ds:schemaRef ds:uri="106fbe69-db63-4a50-9407-d0b585a00cbd"/>
    <ds:schemaRef ds:uri="ab914945-94ed-4933-83ab-ec9b970720f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BFE4792-4CC6-49F4-AF01-3A3998E029B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eiersdorf</Template>
  <TotalTime>0</TotalTime>
  <Words>1020</Words>
  <Application>Microsoft Office PowerPoint</Application>
  <PresentationFormat>Breitbild</PresentationFormat>
  <Paragraphs>232</Paragraphs>
  <Slides>19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9" baseType="lpstr">
      <vt:lpstr>Yu Gothic</vt:lpstr>
      <vt:lpstr>Yu Gothic Light</vt:lpstr>
      <vt:lpstr>Arial</vt:lpstr>
      <vt:lpstr>Avenir Next LT Pro</vt:lpstr>
      <vt:lpstr>Avenir Next LT Pro Light</vt:lpstr>
      <vt:lpstr>AvenirNext LT Pro Light</vt:lpstr>
      <vt:lpstr>Segoe UI Light</vt:lpstr>
      <vt:lpstr>Symbol</vt:lpstr>
      <vt:lpstr>Beiersdorf</vt:lpstr>
      <vt:lpstr>think-cell Folie</vt:lpstr>
      <vt:lpstr>Willkommen bei Beiersdorf! </vt:lpstr>
      <vt:lpstr>PowerPoint-Präsentation</vt:lpstr>
      <vt:lpstr>Ansible Not Only for DevOps Unicorns </vt:lpstr>
      <vt:lpstr>Agenda</vt:lpstr>
      <vt:lpstr>Ansible Relevanz Mehr als nur DevOps – Ein Werkzeug für die gesamte IT</vt:lpstr>
      <vt:lpstr>Mehr als nur DevOps –  Ein Werkzeug für die gesamte IT</vt:lpstr>
      <vt:lpstr>PowerPoint-Präsentation</vt:lpstr>
      <vt:lpstr>PowerPoint-Präsentation</vt:lpstr>
      <vt:lpstr>Ansible Integration in IT-Strategie</vt:lpstr>
      <vt:lpstr>PowerPoint-Präsentation</vt:lpstr>
      <vt:lpstr>Wo steht die Beiersdorf IT mit ansible?</vt:lpstr>
      <vt:lpstr>Ansible Herausforderungen Herausforderungen beim Einsatz in IT-Infrastruktur &amp; Operations </vt:lpstr>
      <vt:lpstr>PowerPoint-Präsentation</vt:lpstr>
      <vt:lpstr>PowerPoint-Präsentation</vt:lpstr>
      <vt:lpstr>PowerPoint-Präsentation</vt:lpstr>
      <vt:lpstr>Ansible   Lösungsansätze</vt:lpstr>
      <vt:lpstr>Lösungsansätze</vt:lpstr>
      <vt:lpstr>PowerPoint-Präsentation</vt:lpstr>
      <vt:lpstr>DANKE!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eyer, Sebastian /BSS HAM</dc:creator>
  <dc:description>Optimized for PowerPoint 365</dc:description>
  <cp:lastModifiedBy>Loew, York von /BSS HAM</cp:lastModifiedBy>
  <cp:revision>1</cp:revision>
  <cp:lastPrinted>2020-11-17T09:40:03Z</cp:lastPrinted>
  <dcterms:created xsi:type="dcterms:W3CDTF">2024-10-04T09:42:57Z</dcterms:created>
  <dcterms:modified xsi:type="dcterms:W3CDTF">2024-10-22T14:3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8F57C10B17BC44EAB722BF805F77908</vt:lpwstr>
  </property>
  <property fmtid="{D5CDD505-2E9C-101B-9397-08002B2CF9AE}" pid="3" name="MSIP_Label_d3afa47a-8cae-43ba-8192-8f5599bcb866_Enabled">
    <vt:lpwstr>true</vt:lpwstr>
  </property>
  <property fmtid="{D5CDD505-2E9C-101B-9397-08002B2CF9AE}" pid="4" name="MSIP_Label_d3afa47a-8cae-43ba-8192-8f5599bcb866_SetDate">
    <vt:lpwstr>2020-12-07T16:49:41Z</vt:lpwstr>
  </property>
  <property fmtid="{D5CDD505-2E9C-101B-9397-08002B2CF9AE}" pid="5" name="MSIP_Label_d3afa47a-8cae-43ba-8192-8f5599bcb866_Method">
    <vt:lpwstr>Privileged</vt:lpwstr>
  </property>
  <property fmtid="{D5CDD505-2E9C-101B-9397-08002B2CF9AE}" pid="6" name="MSIP_Label_d3afa47a-8cae-43ba-8192-8f5599bcb866_Name">
    <vt:lpwstr>Internal_V2</vt:lpwstr>
  </property>
  <property fmtid="{D5CDD505-2E9C-101B-9397-08002B2CF9AE}" pid="7" name="MSIP_Label_d3afa47a-8cae-43ba-8192-8f5599bcb866_SiteId">
    <vt:lpwstr>631f985f-427e-4921-a153-c467ec975fb6</vt:lpwstr>
  </property>
  <property fmtid="{D5CDD505-2E9C-101B-9397-08002B2CF9AE}" pid="8" name="MSIP_Label_d3afa47a-8cae-43ba-8192-8f5599bcb866_ActionId">
    <vt:lpwstr>96bbceef-8dc2-4a5a-93a6-48d3fa18e03e</vt:lpwstr>
  </property>
  <property fmtid="{D5CDD505-2E9C-101B-9397-08002B2CF9AE}" pid="9" name="MSIP_Label_d3afa47a-8cae-43ba-8192-8f5599bcb866_ContentBits">
    <vt:lpwstr>0</vt:lpwstr>
  </property>
  <property fmtid="{D5CDD505-2E9C-101B-9397-08002B2CF9AE}" pid="10" name="MediaServiceImageTags">
    <vt:lpwstr/>
  </property>
</Properties>
</file>